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1" r:id="rId2"/>
  </p:sldMasterIdLst>
  <p:sldIdLst>
    <p:sldId id="256" r:id="rId3"/>
    <p:sldId id="263" r:id="rId4"/>
    <p:sldId id="264" r:id="rId5"/>
    <p:sldId id="270" r:id="rId6"/>
    <p:sldId id="271" r:id="rId7"/>
    <p:sldId id="272" r:id="rId8"/>
    <p:sldId id="273" r:id="rId9"/>
    <p:sldId id="274" r:id="rId10"/>
    <p:sldId id="276" r:id="rId11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im *" initials="K*" lastIdx="2" clrIdx="0">
    <p:extLst>
      <p:ext uri="{19B8F6BF-5375-455C-9EA6-DF929625EA0E}">
        <p15:presenceInfo xmlns:p15="http://schemas.microsoft.com/office/powerpoint/2012/main" userId="b40aceab1c5463a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2" autoAdjust="0"/>
    <p:restoredTop sz="95250" autoAdjust="0"/>
  </p:normalViewPr>
  <p:slideViewPr>
    <p:cSldViewPr snapToGrid="0">
      <p:cViewPr varScale="1">
        <p:scale>
          <a:sx n="77" d="100"/>
          <a:sy n="77" d="100"/>
        </p:scale>
        <p:origin x="200" y="8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oleObject" Target="../embeddings/oleObject3.bin"/><Relationship Id="rId7" Type="http://schemas.openxmlformats.org/officeDocument/2006/relationships/image" Target="../media/image8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7.gif"/><Relationship Id="rId5" Type="http://schemas.openxmlformats.org/officeDocument/2006/relationships/image" Target="../media/image6.gif"/><Relationship Id="rId4" Type="http://schemas.openxmlformats.org/officeDocument/2006/relationships/image" Target="../media/image4.emf"/><Relationship Id="rId9" Type="http://schemas.openxmlformats.org/officeDocument/2006/relationships/image" Target="../media/image10.gi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6" Type="http://schemas.openxmlformats.org/officeDocument/2006/relationships/image" Target="../media/image7.gif"/><Relationship Id="rId5" Type="http://schemas.openxmlformats.org/officeDocument/2006/relationships/image" Target="../media/image6.gif"/><Relationship Id="rId4" Type="http://schemas.openxmlformats.org/officeDocument/2006/relationships/image" Target="../media/image4.emf"/><Relationship Id="rId9" Type="http://schemas.openxmlformats.org/officeDocument/2006/relationships/image" Target="../media/image10.gi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8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7.gif"/><Relationship Id="rId5" Type="http://schemas.openxmlformats.org/officeDocument/2006/relationships/image" Target="../media/image6.gif"/><Relationship Id="rId4" Type="http://schemas.openxmlformats.org/officeDocument/2006/relationships/image" Target="../media/image4.emf"/><Relationship Id="rId9" Type="http://schemas.openxmlformats.org/officeDocument/2006/relationships/image" Target="../media/image10.gi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oleObject" Target="../embeddings/oleObject6.bin"/><Relationship Id="rId7" Type="http://schemas.openxmlformats.org/officeDocument/2006/relationships/image" Target="../media/image8.gi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7.gif"/><Relationship Id="rId5" Type="http://schemas.openxmlformats.org/officeDocument/2006/relationships/image" Target="../media/image6.gif"/><Relationship Id="rId4" Type="http://schemas.openxmlformats.org/officeDocument/2006/relationships/image" Target="../media/image4.emf"/><Relationship Id="rId9" Type="http://schemas.openxmlformats.org/officeDocument/2006/relationships/image" Target="../media/image10.gi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7" Type="http://schemas.openxmlformats.org/officeDocument/2006/relationships/image" Target="../media/image3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D529A79-2D80-4F18-8A24-A3070EE6D4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C72D033C-274C-4E91-BECA-D32BF49398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1E20A0A-675F-444E-A148-091E953790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EFC1CF5-CFED-4DB0-8C76-824EF5695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094C8CD-A696-4EE0-8282-86E5421D9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71060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41E187-ADFE-4192-9AC8-D0C3CCDAA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86E18ADF-ABDB-4BCD-8F05-ED3285AFDF8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CA5042E-89DF-42E3-8EA1-829301B124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A5D311AF-B7BC-4AC3-89D3-B60BFF0DC4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7C6B508-84D4-4DDD-BEC9-AD3FC5D205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54323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23D134B5-EC9A-4DF3-BD2E-56B931C7119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73161D46-4370-4525-8AB8-15A51D198B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4599A31-8FE0-4E5D-8935-8E210C14F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1D6946A-2F58-4CDB-B2D1-237F6B70D0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73D927E-A99A-411D-87C7-DB995B7B5E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902141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 om de ondertitel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3126930"/>
      </p:ext>
    </p:extLst>
  </p:cSld>
  <p:clrMapOvr>
    <a:masterClrMapping/>
  </p:clrMapOvr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2996268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9984718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8016363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173936"/>
      </p:ext>
    </p:extLst>
  </p:cSld>
  <p:clrMapOvr>
    <a:masterClrMapping/>
  </p:clrMapOvr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208579"/>
      </p:ext>
    </p:extLst>
  </p:cSld>
  <p:clrMapOvr>
    <a:masterClrMapping/>
  </p:clrMapOvr>
  <p:hf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798643"/>
      </p:ext>
    </p:extLst>
  </p:cSld>
  <p:clrMapOvr>
    <a:masterClrMapping/>
  </p:clrMapOvr>
  <p:hf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365583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FA867D-0166-4F90-9FB9-DC5E5854F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0F88515-0475-444C-89AA-5DD0F83ECF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57210F-B8F2-4ECA-A39B-85C17E770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CA7C135-D964-42F2-BBC3-E36B8BA96B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17FF4C7-FBEE-488A-8664-2B72564C83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132983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Tekststijl van het model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2504355"/>
      </p:ext>
    </p:extLst>
  </p:cSld>
  <p:clrMapOvr>
    <a:masterClrMapping/>
  </p:clrMapOvr>
  <p:hf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295170"/>
      </p:ext>
    </p:extLst>
  </p:cSld>
  <p:clrMapOvr>
    <a:masterClrMapping/>
  </p:clrMapOvr>
  <p:hf hd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42EA9-5BD8-4169-A295-BA5645CAEDE1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7097882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Multi speakers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B2CA1A4F-93FF-4441-BD9E-198187015F29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75" name="Picture Placeholder 3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93921" y="1181100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69900" y="3057056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7" name="Picture Placeholder 3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864485" y="1181100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78" name="Text Placeholder 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40464" y="3057056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79" name="Picture Placeholder 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6735049" y="1181100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0" name="Text Placeholder 5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211028" y="3057056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81" name="Picture Placeholder 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9605612" y="1181100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82" name="Text Placeholder 5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9081591" y="3057056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0" name="Picture Placeholder 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993921" y="3708571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1" name="Text Placeholder 5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69900" y="5584527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2" name="Picture Placeholder 3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864485" y="3708571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3" name="Text Placeholder 5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340464" y="5584525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4" name="Picture Placeholder 3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6735049" y="3708571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5" name="Text Placeholder 5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211028" y="5584527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16" name="Picture Placeholder 3"/>
          <p:cNvSpPr>
            <a:spLocks noGrp="1"/>
          </p:cNvSpPr>
          <p:nvPr>
            <p:ph type="pic" sz="quarter" idx="31" hasCustomPrompt="1"/>
          </p:nvPr>
        </p:nvSpPr>
        <p:spPr bwMode="gray">
          <a:xfrm>
            <a:off x="9605612" y="3708571"/>
            <a:ext cx="1584000" cy="1824000"/>
          </a:xfrm>
          <a:solidFill>
            <a:srgbClr val="FFFFFF"/>
          </a:solidFill>
        </p:spPr>
        <p:txBody>
          <a:bodyPr lIns="0" tIns="216000" rIns="0"/>
          <a:lstStyle>
            <a:lvl1pPr algn="ctr">
              <a:defRPr sz="1600" baseline="0">
                <a:solidFill>
                  <a:srgbClr val="B7B9BA"/>
                </a:solidFill>
              </a:defRPr>
            </a:lvl1pPr>
          </a:lstStyle>
          <a:p>
            <a:r>
              <a:rPr lang="nl-NL"/>
              <a:t>Placeholder photo speaker</a:t>
            </a:r>
            <a:endParaRPr lang="en-GB"/>
          </a:p>
        </p:txBody>
      </p:sp>
      <p:sp>
        <p:nvSpPr>
          <p:cNvPr id="117" name="Text Placeholder 5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9081591" y="5584527"/>
            <a:ext cx="2632043" cy="576000"/>
          </a:xfrm>
        </p:spPr>
        <p:txBody>
          <a:bodyPr bIns="72000">
            <a:noAutofit/>
          </a:bodyPr>
          <a:lstStyle>
            <a:lvl1pPr algn="ctr">
              <a:spcBef>
                <a:spcPts val="0"/>
              </a:spcBef>
              <a:defRPr sz="1867" b="1">
                <a:solidFill>
                  <a:schemeClr val="bg1"/>
                </a:solidFill>
              </a:defRPr>
            </a:lvl1pPr>
            <a:lvl2pPr algn="ctr">
              <a:defRPr>
                <a:solidFill>
                  <a:schemeClr val="bg1"/>
                </a:solidFill>
              </a:defRPr>
            </a:lvl2pPr>
            <a:lvl3pPr algn="ctr"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Speaker Name</a:t>
            </a:r>
            <a:endParaRPr lang="en-GB"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kzoNobel - Colorimetry training school </a:t>
            </a:r>
            <a:endParaRPr lang="en-GB" dirty="0"/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34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63ADF2C3-00B0-4FBD-9139-05547B8F79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6564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solidFill>
          <a:srgbClr val="D9D9D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4080AD4-1248-42BF-B117-FF7BD2095101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466851DF-CDE1-45E4-B481-6864BF0B46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9144000"/>
              <a:gd name="connsiteY0" fmla="*/ 0 h 5143500"/>
              <a:gd name="connsiteX1" fmla="*/ 5138383 w 9144000"/>
              <a:gd name="connsiteY1" fmla="*/ 0 h 5143500"/>
              <a:gd name="connsiteX2" fmla="*/ 9144000 w 9144000"/>
              <a:gd name="connsiteY2" fmla="*/ 4005615 h 5143500"/>
              <a:gd name="connsiteX3" fmla="*/ 9144000 w 9144000"/>
              <a:gd name="connsiteY3" fmla="*/ 5143500 h 5143500"/>
              <a:gd name="connsiteX4" fmla="*/ 0 w 9144000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0" h="5143500">
                <a:moveTo>
                  <a:pt x="0" y="0"/>
                </a:moveTo>
                <a:lnTo>
                  <a:pt x="5138383" y="0"/>
                </a:lnTo>
                <a:lnTo>
                  <a:pt x="9144000" y="4005615"/>
                </a:lnTo>
                <a:lnTo>
                  <a:pt x="9144000" y="5143500"/>
                </a:lnTo>
                <a:lnTo>
                  <a:pt x="0" y="51435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Right Triangle 39">
            <a:extLst>
              <a:ext uri="{FF2B5EF4-FFF2-40B4-BE49-F238E27FC236}">
                <a16:creationId xmlns:a16="http://schemas.microsoft.com/office/drawing/2014/main" id="{C4D88B44-6923-4A8C-9C25-9A25EAE0D72E}"/>
              </a:ext>
            </a:extLst>
          </p:cNvPr>
          <p:cNvSpPr/>
          <p:nvPr userDrawn="1"/>
        </p:nvSpPr>
        <p:spPr>
          <a:xfrm flipH="1" flipV="1">
            <a:off x="6851176" y="-1"/>
            <a:ext cx="5340824" cy="534082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GB" sz="2400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79999" y="4082680"/>
            <a:ext cx="6230400" cy="2160000"/>
          </a:xfrm>
          <a:prstGeom prst="snip2DiagRect">
            <a:avLst>
              <a:gd name="adj1" fmla="val 1587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wrap="square" lIns="108000" tIns="108000" rIns="108000" bIns="0" rtlCol="0" anchor="t" anchorCtr="0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ts val="0"/>
              </a:spcBef>
              <a:defRPr lang="en-GB" sz="4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801599" y="5504454"/>
            <a:ext cx="5908800" cy="738227"/>
          </a:xfrm>
          <a:noFill/>
        </p:spPr>
        <p:txBody>
          <a:bodyPr wrap="square" lIns="0" tIns="0" rIns="0" bIns="162000" rtlCol="0" anchor="b" anchorCtr="0">
            <a:spAutoFit/>
          </a:bodyPr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867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subtitle style</a:t>
            </a:r>
            <a:endParaRPr lang="en-GB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B0DBAD6-3F35-468A-9602-267769C710D8}"/>
              </a:ext>
            </a:extLst>
          </p:cNvPr>
          <p:cNvGrpSpPr/>
          <p:nvPr userDrawn="1"/>
        </p:nvGrpSpPr>
        <p:grpSpPr>
          <a:xfrm>
            <a:off x="12270787" y="6242680"/>
            <a:ext cx="2040000" cy="615320"/>
            <a:chOff x="9203090" y="4682010"/>
            <a:chExt cx="1440002" cy="46149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E9D52B4-A941-4934-AD9B-7B5BA1C97A50}"/>
                </a:ext>
              </a:extLst>
            </p:cNvPr>
            <p:cNvCxnSpPr/>
            <p:nvPr/>
          </p:nvCxnSpPr>
          <p:spPr bwMode="gray">
            <a:xfrm flipH="1">
              <a:off x="9203092" y="514350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E9413AD9-6BE1-4A5D-8CDB-D4B7292DF23F}"/>
                </a:ext>
              </a:extLst>
            </p:cNvPr>
            <p:cNvCxnSpPr/>
            <p:nvPr/>
          </p:nvCxnSpPr>
          <p:spPr bwMode="gray">
            <a:xfrm flipH="1">
              <a:off x="9203092" y="4682010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280614E-0C52-4941-8067-C4E0E6114F03}"/>
                </a:ext>
              </a:extLst>
            </p:cNvPr>
            <p:cNvSpPr/>
            <p:nvPr/>
          </p:nvSpPr>
          <p:spPr bwMode="gray">
            <a:xfrm flipH="1">
              <a:off x="9203090" y="4721225"/>
              <a:ext cx="1439999" cy="422274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Logo margin bottom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238DB93-241B-43B2-AAD6-872AB5598331}"/>
              </a:ext>
            </a:extLst>
          </p:cNvPr>
          <p:cNvGrpSpPr/>
          <p:nvPr userDrawn="1"/>
        </p:nvGrpSpPr>
        <p:grpSpPr>
          <a:xfrm>
            <a:off x="11734799" y="6937748"/>
            <a:ext cx="457205" cy="2040000"/>
            <a:chOff x="8801099" y="5203311"/>
            <a:chExt cx="342904" cy="1440000"/>
          </a:xfrm>
        </p:grpSpPr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17B79566-831A-4FB4-A7A0-6C823FB4EB30}"/>
                </a:ext>
              </a:extLst>
            </p:cNvPr>
            <p:cNvCxnSpPr/>
            <p:nvPr/>
          </p:nvCxnSpPr>
          <p:spPr bwMode="gray">
            <a:xfrm rot="5400000" flipH="1">
              <a:off x="8081575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807DB0C3-4D42-479D-8E40-280BC626EF93}"/>
                </a:ext>
              </a:extLst>
            </p:cNvPr>
            <p:cNvCxnSpPr/>
            <p:nvPr/>
          </p:nvCxnSpPr>
          <p:spPr bwMode="gray">
            <a:xfrm rot="5400000" flipH="1">
              <a:off x="8424003" y="5923311"/>
              <a:ext cx="1440000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1D782735-8D0D-42AE-A823-AF45C1DEEF98}"/>
                </a:ext>
              </a:extLst>
            </p:cNvPr>
            <p:cNvSpPr/>
            <p:nvPr/>
          </p:nvSpPr>
          <p:spPr bwMode="gray">
            <a:xfrm rot="5400000" flipH="1">
              <a:off x="8251993" y="5752418"/>
              <a:ext cx="1439999" cy="34178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Logo margin right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877F479E-C567-4B93-8B6E-A2FC6A313CC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743947" y="508006"/>
            <a:ext cx="2976000" cy="43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1320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3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DB2116A9-0496-4E1A-A495-093BAF5935CB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41" name="Text Placeholder 40"/>
          <p:cNvSpPr>
            <a:spLocks noGrp="1"/>
          </p:cNvSpPr>
          <p:nvPr>
            <p:ph type="body" sz="quarter" idx="18"/>
          </p:nvPr>
        </p:nvSpPr>
        <p:spPr bwMode="gray">
          <a:xfrm>
            <a:off x="478368" y="1481937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8" name="Text Placeholder 12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478370" y="1481937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707983" y="161029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AkzoNobel - Colorimetry training school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3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86" name="Text Placeholder 73"/>
          <p:cNvSpPr>
            <a:spLocks noGrp="1"/>
          </p:cNvSpPr>
          <p:nvPr>
            <p:ph type="body" sz="quarter" idx="19"/>
          </p:nvPr>
        </p:nvSpPr>
        <p:spPr bwMode="gray">
          <a:xfrm>
            <a:off x="478368" y="2410240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7" name="Text Placeholder 186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78370" y="2410240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188" name="Picture Placeholder 75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707983" y="2538596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11" name="Text Placeholder 76"/>
          <p:cNvSpPr>
            <a:spLocks noGrp="1"/>
          </p:cNvSpPr>
          <p:nvPr>
            <p:ph type="body" sz="quarter" idx="21"/>
          </p:nvPr>
        </p:nvSpPr>
        <p:spPr bwMode="gray">
          <a:xfrm>
            <a:off x="478368" y="3338542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2" name="Text Placeholder 211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8370" y="3338542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13" name="Picture Placeholder 78"/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707983" y="3466899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33" name="Text Placeholder 79"/>
          <p:cNvSpPr>
            <a:spLocks noGrp="1"/>
          </p:cNvSpPr>
          <p:nvPr>
            <p:ph type="body" sz="quarter" idx="23"/>
          </p:nvPr>
        </p:nvSpPr>
        <p:spPr bwMode="gray">
          <a:xfrm>
            <a:off x="478368" y="4266845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4" name="Text Placeholder 23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8370" y="4266845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35" name="Picture Placeholder 81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707983" y="4395202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252" name="Text Placeholder 82"/>
          <p:cNvSpPr>
            <a:spLocks noGrp="1"/>
          </p:cNvSpPr>
          <p:nvPr>
            <p:ph type="body" sz="quarter" idx="25"/>
          </p:nvPr>
        </p:nvSpPr>
        <p:spPr bwMode="gray">
          <a:xfrm>
            <a:off x="478368" y="5195148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3" name="Text Placeholder 252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8370" y="5195148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254" name="Picture Placeholder 8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707983" y="532350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48" name="Text Placeholder 40"/>
          <p:cNvSpPr>
            <a:spLocks noGrp="1"/>
          </p:cNvSpPr>
          <p:nvPr>
            <p:ph type="body" sz="quarter" idx="42"/>
          </p:nvPr>
        </p:nvSpPr>
        <p:spPr bwMode="gray">
          <a:xfrm>
            <a:off x="6198158" y="1481937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9" name="Text Placeholder 278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199217" y="1481937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0" name="Picture Placeholder 38"/>
          <p:cNvSpPr>
            <a:spLocks noGrp="1"/>
          </p:cNvSpPr>
          <p:nvPr>
            <p:ph type="pic" sz="quarter" idx="44" hasCustomPrompt="1"/>
          </p:nvPr>
        </p:nvSpPr>
        <p:spPr bwMode="gray">
          <a:xfrm>
            <a:off x="6428830" y="161029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1" name="Text Placeholder 73"/>
          <p:cNvSpPr>
            <a:spLocks noGrp="1"/>
          </p:cNvSpPr>
          <p:nvPr>
            <p:ph type="body" sz="quarter" idx="40"/>
          </p:nvPr>
        </p:nvSpPr>
        <p:spPr bwMode="gray">
          <a:xfrm>
            <a:off x="6198158" y="2410240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2" name="Text Placeholder 291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199217" y="2410240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3" name="Picture Placeholder 75"/>
          <p:cNvSpPr>
            <a:spLocks noGrp="1"/>
          </p:cNvSpPr>
          <p:nvPr>
            <p:ph type="pic" sz="quarter" idx="45" hasCustomPrompt="1"/>
          </p:nvPr>
        </p:nvSpPr>
        <p:spPr bwMode="gray">
          <a:xfrm>
            <a:off x="6428830" y="2538596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4" name="Text Placeholder 76"/>
          <p:cNvSpPr>
            <a:spLocks noGrp="1"/>
          </p:cNvSpPr>
          <p:nvPr>
            <p:ph type="body" sz="quarter" idx="38"/>
          </p:nvPr>
        </p:nvSpPr>
        <p:spPr bwMode="gray">
          <a:xfrm>
            <a:off x="6198158" y="3338542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5" name="Text Placeholder 301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199217" y="3338542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56" name="Picture Placeholder 78"/>
          <p:cNvSpPr>
            <a:spLocks noGrp="1"/>
          </p:cNvSpPr>
          <p:nvPr>
            <p:ph type="pic" sz="quarter" idx="46" hasCustomPrompt="1"/>
          </p:nvPr>
        </p:nvSpPr>
        <p:spPr bwMode="gray">
          <a:xfrm>
            <a:off x="6428830" y="3466899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7" name="Text Placeholder 79"/>
          <p:cNvSpPr>
            <a:spLocks noGrp="1"/>
          </p:cNvSpPr>
          <p:nvPr>
            <p:ph type="body" sz="quarter" idx="36"/>
          </p:nvPr>
        </p:nvSpPr>
        <p:spPr bwMode="gray">
          <a:xfrm>
            <a:off x="6198158" y="4266845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Text Placeholder 308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199217" y="4266845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60" name="Picture Placeholder 81"/>
          <p:cNvSpPr>
            <a:spLocks noGrp="1"/>
          </p:cNvSpPr>
          <p:nvPr>
            <p:ph type="pic" sz="quarter" idx="47" hasCustomPrompt="1"/>
          </p:nvPr>
        </p:nvSpPr>
        <p:spPr bwMode="gray">
          <a:xfrm>
            <a:off x="6428830" y="4395202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1" name="Text Placeholder 82"/>
          <p:cNvSpPr>
            <a:spLocks noGrp="1"/>
          </p:cNvSpPr>
          <p:nvPr>
            <p:ph type="body" sz="quarter" idx="34"/>
          </p:nvPr>
        </p:nvSpPr>
        <p:spPr bwMode="gray">
          <a:xfrm>
            <a:off x="6198158" y="5195148"/>
            <a:ext cx="5523943" cy="826145"/>
          </a:xfrm>
          <a:custGeom>
            <a:avLst/>
            <a:gdLst>
              <a:gd name="connsiteX0" fmla="*/ 0 w 8435973"/>
              <a:gd name="connsiteY0" fmla="*/ 0 h 619609"/>
              <a:gd name="connsiteX1" fmla="*/ 8435973 w 8435973"/>
              <a:gd name="connsiteY1" fmla="*/ 0 h 619609"/>
              <a:gd name="connsiteX2" fmla="*/ 8435973 w 8435973"/>
              <a:gd name="connsiteY2" fmla="*/ 309805 h 619609"/>
              <a:gd name="connsiteX3" fmla="*/ 8435973 w 8435973"/>
              <a:gd name="connsiteY3" fmla="*/ 619609 h 619609"/>
              <a:gd name="connsiteX4" fmla="*/ 0 w 843597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35973" h="619609">
                <a:moveTo>
                  <a:pt x="0" y="0"/>
                </a:moveTo>
                <a:lnTo>
                  <a:pt x="8435973" y="0"/>
                </a:lnTo>
                <a:lnTo>
                  <a:pt x="8435973" y="309805"/>
                </a:lnTo>
                <a:lnTo>
                  <a:pt x="8435973" y="619609"/>
                </a:lnTo>
                <a:lnTo>
                  <a:pt x="0" y="619609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108000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2" name="Text Placeholder 312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199217" y="5195148"/>
            <a:ext cx="1308057" cy="826145"/>
          </a:xfrm>
          <a:custGeom>
            <a:avLst/>
            <a:gdLst>
              <a:gd name="connsiteX0" fmla="*/ 0 w 981043"/>
              <a:gd name="connsiteY0" fmla="*/ 0 h 619609"/>
              <a:gd name="connsiteX1" fmla="*/ 671239 w 981043"/>
              <a:gd name="connsiteY1" fmla="*/ 0 h 619609"/>
              <a:gd name="connsiteX2" fmla="*/ 981043 w 981043"/>
              <a:gd name="connsiteY2" fmla="*/ 309805 h 619609"/>
              <a:gd name="connsiteX3" fmla="*/ 671239 w 981043"/>
              <a:gd name="connsiteY3" fmla="*/ 619609 h 619609"/>
              <a:gd name="connsiteX4" fmla="*/ 0 w 981043"/>
              <a:gd name="connsiteY4" fmla="*/ 619609 h 619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1043" h="619609">
                <a:moveTo>
                  <a:pt x="0" y="0"/>
                </a:moveTo>
                <a:lnTo>
                  <a:pt x="671239" y="0"/>
                </a:lnTo>
                <a:lnTo>
                  <a:pt x="981043" y="309805"/>
                </a:lnTo>
                <a:lnTo>
                  <a:pt x="671239" y="619609"/>
                </a:lnTo>
                <a:lnTo>
                  <a:pt x="0" y="619609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anchor="ctr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33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nl-NL"/>
              <a:t> </a:t>
            </a:r>
            <a:endParaRPr lang="en-GB"/>
          </a:p>
        </p:txBody>
      </p:sp>
      <p:sp>
        <p:nvSpPr>
          <p:cNvPr id="63" name="Picture Placeholder 84"/>
          <p:cNvSpPr>
            <a:spLocks noGrp="1"/>
          </p:cNvSpPr>
          <p:nvPr>
            <p:ph type="pic" sz="quarter" idx="48" hasCustomPrompt="1"/>
          </p:nvPr>
        </p:nvSpPr>
        <p:spPr bwMode="gray">
          <a:xfrm>
            <a:off x="6428830" y="5323504"/>
            <a:ext cx="569429" cy="56942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7F914DF9-1E14-43E7-8FCC-51510C235AF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26729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gradFill>
          <a:gsLst>
            <a:gs pos="45000">
              <a:srgbClr val="56378A"/>
            </a:gs>
            <a:gs pos="10000">
              <a:srgbClr val="C3004A"/>
            </a:gs>
            <a:gs pos="95000">
              <a:srgbClr val="0092BB"/>
            </a:gs>
            <a:gs pos="75000">
              <a:srgbClr val="008BC5"/>
            </a:gs>
          </a:gsLst>
          <a:lin ang="189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BB7D8D07-0BCF-4BB0-A207-66204584BC8F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37" name="Object 3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9900" y="1260883"/>
            <a:ext cx="11252200" cy="4803368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5333" b="1">
                <a:solidFill>
                  <a:schemeClr val="bg1"/>
                </a:solidFill>
              </a:defRPr>
            </a:lvl1pPr>
            <a:lvl2pPr marL="958827" indent="-958827">
              <a:lnSpc>
                <a:spcPct val="90000"/>
              </a:lnSpc>
              <a:spcBef>
                <a:spcPts val="0"/>
              </a:spcBef>
              <a:buFontTx/>
              <a:buBlip>
                <a:blip r:embed="rId5"/>
              </a:buBlip>
              <a:defRPr sz="5333" b="1">
                <a:solidFill>
                  <a:schemeClr val="bg1"/>
                </a:solidFill>
              </a:defRPr>
            </a:lvl2pPr>
            <a:lvl3pPr marL="1674242" indent="-715415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333" b="1">
                <a:solidFill>
                  <a:schemeClr val="bg1"/>
                </a:solidFill>
              </a:defRPr>
            </a:lvl3pPr>
            <a:lvl4pPr marL="2389658" indent="-713300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333" b="1">
                <a:solidFill>
                  <a:schemeClr val="bg1"/>
                </a:solidFill>
              </a:defRPr>
            </a:lvl4pPr>
            <a:lvl5pPr marL="3105073" indent="-713300">
              <a:lnSpc>
                <a:spcPct val="90000"/>
              </a:lnSpc>
              <a:spcBef>
                <a:spcPts val="0"/>
              </a:spcBef>
              <a:buClr>
                <a:schemeClr val="bg1"/>
              </a:buClr>
              <a:defRPr sz="5333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Rectangle 17"/>
          <p:cNvSpPr/>
          <p:nvPr/>
        </p:nvSpPr>
        <p:spPr bwMode="gray">
          <a:xfrm>
            <a:off x="-2228850" y="1874017"/>
            <a:ext cx="2042076" cy="24033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24000" bIns="144000" rtlCol="0" anchor="b" anchorCtr="0">
            <a:no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AkzoNobel Bullets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Only use the </a:t>
            </a:r>
            <a:r>
              <a:rPr lang="en-US" sz="1200" b="0" u="sng">
                <a:solidFill>
                  <a:schemeClr val="tx1"/>
                </a:solidFill>
              </a:rPr>
              <a:t>List Level buttons</a:t>
            </a:r>
            <a:r>
              <a:rPr lang="en-US" sz="1200" b="0">
                <a:solidFill>
                  <a:schemeClr val="tx1"/>
                </a:solidFill>
              </a:rPr>
              <a:t> to apply the</a:t>
            </a:r>
            <a:r>
              <a:rPr lang="en-US" sz="1200" b="0" baseline="0">
                <a:solidFill>
                  <a:schemeClr val="tx1"/>
                </a:solidFill>
              </a:rPr>
              <a:t> </a:t>
            </a:r>
            <a:r>
              <a:rPr lang="en-US" sz="1200" b="0" i="0" u="none" baseline="0">
                <a:solidFill>
                  <a:schemeClr val="tx1"/>
                </a:solidFill>
              </a:rPr>
              <a:t>AkzoNobel Branded Bullets</a:t>
            </a:r>
            <a:endParaRPr lang="en-US" sz="1200" b="0" i="0" u="none" dirty="0">
              <a:solidFill>
                <a:schemeClr val="tx1"/>
              </a:solidFill>
            </a:endParaRPr>
          </a:p>
        </p:txBody>
      </p:sp>
      <p:grpSp>
        <p:nvGrpSpPr>
          <p:cNvPr id="19" name="Group 18"/>
          <p:cNvGrpSpPr/>
          <p:nvPr/>
        </p:nvGrpSpPr>
        <p:grpSpPr bwMode="gray">
          <a:xfrm>
            <a:off x="-2097938" y="2041937"/>
            <a:ext cx="1780249" cy="1060035"/>
            <a:chOff x="-1573454" y="1531453"/>
            <a:chExt cx="1335187" cy="795026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6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21" name="Multiply 20"/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</p:grpSp>
      <p:pic>
        <p:nvPicPr>
          <p:cNvPr id="23" name="Picture 22">
            <a:extLst>
              <a:ext uri="{FF2B5EF4-FFF2-40B4-BE49-F238E27FC236}">
                <a16:creationId xmlns:a16="http://schemas.microsoft.com/office/drawing/2014/main" id="{A9108234-EC49-4872-A1B2-08C93F174D8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2571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Header 2, white log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DBF9782B-CBFB-4BC8-9AA2-401E0D5D484F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9352624" y="315284"/>
            <a:ext cx="2372213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58" name="Picture Placeholder 57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55" name="Text Placeholder 54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-295011"/>
            <a:ext cx="48000" cy="48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52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469899" y="336000"/>
            <a:ext cx="5904000" cy="1194216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 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823131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Header 2, blue logo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1A60FDAF-2E2A-4DA0-8DD2-47A74AF447BE}"/>
              </a:ext>
            </a:extLst>
          </p:cNvPr>
          <p:cNvGrpSpPr/>
          <p:nvPr userDrawn="1"/>
        </p:nvGrpSpPr>
        <p:grpSpPr>
          <a:xfrm>
            <a:off x="1" y="-1200"/>
            <a:ext cx="12191999" cy="6859200"/>
            <a:chOff x="0" y="-900"/>
            <a:chExt cx="9143999" cy="5144400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8E43AB6-E6D1-46DC-A70B-48BB5EDF21A9}"/>
                </a:ext>
              </a:extLst>
            </p:cNvPr>
            <p:cNvSpPr/>
            <p:nvPr userDrawn="1"/>
          </p:nvSpPr>
          <p:spPr>
            <a:xfrm>
              <a:off x="7013813" y="-900"/>
              <a:ext cx="1782000" cy="51444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15AF137-4104-445B-B8FB-3289791F9597}"/>
                </a:ext>
              </a:extLst>
            </p:cNvPr>
            <p:cNvSpPr/>
            <p:nvPr userDrawn="1"/>
          </p:nvSpPr>
          <p:spPr>
            <a:xfrm>
              <a:off x="0" y="-900"/>
              <a:ext cx="7013813" cy="51444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833FBBB-C288-4B0E-B6EE-393E96D68D45}"/>
                </a:ext>
              </a:extLst>
            </p:cNvPr>
            <p:cNvSpPr/>
            <p:nvPr userDrawn="1"/>
          </p:nvSpPr>
          <p:spPr>
            <a:xfrm>
              <a:off x="8795812" y="-900"/>
              <a:ext cx="348187" cy="51444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6DAAE6B-5F0D-4447-A4AB-D66BB539F8E1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2" y="-6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56" name="Text Placeholder 5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0" y="-295011"/>
            <a:ext cx="48000" cy="48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4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899" y="336000"/>
            <a:ext cx="5904000" cy="1194216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845869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 bwMode="gray">
          <a:xfrm>
            <a:off x="469899" y="1298829"/>
            <a:ext cx="8389468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 bwMode="gray">
          <a:xfrm>
            <a:off x="9058100" y="1298831"/>
            <a:ext cx="3133901" cy="4703999"/>
          </a:xfrm>
          <a:noFill/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22F4D4E4-EC74-416E-99DD-BCA3152C36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489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4CF38E-BE47-4DA2-BDAB-A8107A0BA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20A3A43-907D-4DA0-84C0-A2AE6E169E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6C73C97-C02E-4064-B943-57E89F695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6367622-0DB5-4FE6-B03E-A474FA5786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ED1A1AD-BA39-41A1-8F77-A66EA1E7BB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9662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 bwMode="gray">
          <a:xfrm>
            <a:off x="1" y="1298829"/>
            <a:ext cx="8859367" cy="4704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 bwMode="gray">
          <a:xfrm>
            <a:off x="9058100" y="1298829"/>
            <a:ext cx="2664000" cy="470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4"/>
          </p:nvPr>
        </p:nvSpPr>
        <p:spPr bwMode="gray"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5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5587C2C-ABCA-4658-9504-F54DF4DD3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50562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er and circles 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E298552D-DD6A-45C6-9ABB-AF43C8710ECB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32" name="Group 33"/>
          <p:cNvGrpSpPr>
            <a:grpSpLocks noChangeAspect="1"/>
          </p:cNvGrpSpPr>
          <p:nvPr/>
        </p:nvGrpSpPr>
        <p:grpSpPr bwMode="gray">
          <a:xfrm>
            <a:off x="9352624" y="315284"/>
            <a:ext cx="2372213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34" name="Freeform 33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5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6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7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8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49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0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67" name="Picture Placeholder 66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52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9899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3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498125" y="3138422"/>
            <a:ext cx="2172380" cy="2172380"/>
          </a:xfrm>
          <a:prstGeom prst="snip2DiagRect">
            <a:avLst>
              <a:gd name="adj1" fmla="val 15590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2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26350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3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554577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bg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 baseline="0">
                <a:solidFill>
                  <a:schemeClr val="accent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 baseline="0">
                <a:solidFill>
                  <a:schemeClr val="accent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867">
                <a:solidFill>
                  <a:schemeClr val="accent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4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7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9899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498124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26349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554576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2" name="Text Placeholder 61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-295011"/>
            <a:ext cx="48000" cy="48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>
          <a:xfrm>
            <a:off x="469899" y="336000"/>
            <a:ext cx="5904000" cy="1194216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811300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er and circles 4">
    <p:bg>
      <p:bgPr>
        <a:solidFill>
          <a:srgbClr val="0051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4BC2EB70-D3B0-48D3-A2B6-BCB15FB444A7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60844D6-DD6E-471B-A76D-4769B5776D21}"/>
              </a:ext>
            </a:extLst>
          </p:cNvPr>
          <p:cNvSpPr/>
          <p:nvPr userDrawn="1"/>
        </p:nvSpPr>
        <p:spPr>
          <a:xfrm>
            <a:off x="9351751" y="209551"/>
            <a:ext cx="2376000" cy="556728"/>
          </a:xfrm>
          <a:prstGeom prst="rect">
            <a:avLst/>
          </a:prstGeom>
          <a:gradFill flip="none" rotWithShape="1">
            <a:gsLst>
              <a:gs pos="0">
                <a:srgbClr val="005192"/>
              </a:gs>
              <a:gs pos="100000">
                <a:srgbClr val="008BC5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57" name="Picture Placeholder 56"/>
          <p:cNvSpPr>
            <a:spLocks noGrp="1"/>
          </p:cNvSpPr>
          <p:nvPr>
            <p:ph type="pic" sz="quarter" idx="17"/>
          </p:nvPr>
        </p:nvSpPr>
        <p:spPr bwMode="gray">
          <a:xfrm>
            <a:off x="2" y="-1200"/>
            <a:ext cx="12191999" cy="6859200"/>
          </a:xfrm>
          <a:custGeom>
            <a:avLst/>
            <a:gdLst>
              <a:gd name="connsiteX0" fmla="*/ 8398022 w 9143999"/>
              <a:gd name="connsiteY0" fmla="*/ 345388 h 5144400"/>
              <a:gd name="connsiteX1" fmla="*/ 8441303 w 9143999"/>
              <a:gd name="connsiteY1" fmla="*/ 397979 h 5144400"/>
              <a:gd name="connsiteX2" fmla="*/ 8391839 w 9143999"/>
              <a:gd name="connsiteY2" fmla="*/ 466038 h 5144400"/>
              <a:gd name="connsiteX3" fmla="*/ 8382565 w 9143999"/>
              <a:gd name="connsiteY3" fmla="*/ 466038 h 5144400"/>
              <a:gd name="connsiteX4" fmla="*/ 8382565 w 9143999"/>
              <a:gd name="connsiteY4" fmla="*/ 348482 h 5144400"/>
              <a:gd name="connsiteX5" fmla="*/ 8398022 w 9143999"/>
              <a:gd name="connsiteY5" fmla="*/ 345388 h 5144400"/>
              <a:gd name="connsiteX6" fmla="*/ 8194405 w 9143999"/>
              <a:gd name="connsiteY6" fmla="*/ 339038 h 5144400"/>
              <a:gd name="connsiteX7" fmla="*/ 8222228 w 9143999"/>
              <a:gd name="connsiteY7" fmla="*/ 404046 h 5144400"/>
              <a:gd name="connsiteX8" fmla="*/ 8194405 w 9143999"/>
              <a:gd name="connsiteY8" fmla="*/ 462863 h 5144400"/>
              <a:gd name="connsiteX9" fmla="*/ 8163490 w 9143999"/>
              <a:gd name="connsiteY9" fmla="*/ 400951 h 5144400"/>
              <a:gd name="connsiteX10" fmla="*/ 8194405 w 9143999"/>
              <a:gd name="connsiteY10" fmla="*/ 339038 h 5144400"/>
              <a:gd name="connsiteX11" fmla="*/ 7739627 w 9143999"/>
              <a:gd name="connsiteY11" fmla="*/ 339038 h 5144400"/>
              <a:gd name="connsiteX12" fmla="*/ 7768202 w 9143999"/>
              <a:gd name="connsiteY12" fmla="*/ 404046 h 5144400"/>
              <a:gd name="connsiteX13" fmla="*/ 7739627 w 9143999"/>
              <a:gd name="connsiteY13" fmla="*/ 462863 h 5144400"/>
              <a:gd name="connsiteX14" fmla="*/ 7711052 w 9143999"/>
              <a:gd name="connsiteY14" fmla="*/ 400951 h 5144400"/>
              <a:gd name="connsiteX15" fmla="*/ 7739627 w 9143999"/>
              <a:gd name="connsiteY15" fmla="*/ 339038 h 5144400"/>
              <a:gd name="connsiteX16" fmla="*/ 8619102 w 9143999"/>
              <a:gd name="connsiteY16" fmla="*/ 335863 h 5144400"/>
              <a:gd name="connsiteX17" fmla="*/ 8650852 w 9143999"/>
              <a:gd name="connsiteY17" fmla="*/ 378725 h 5144400"/>
              <a:gd name="connsiteX18" fmla="*/ 8590527 w 9143999"/>
              <a:gd name="connsiteY18" fmla="*/ 378725 h 5144400"/>
              <a:gd name="connsiteX19" fmla="*/ 8619102 w 9143999"/>
              <a:gd name="connsiteY19" fmla="*/ 335863 h 5144400"/>
              <a:gd name="connsiteX20" fmla="*/ 7121217 w 9143999"/>
              <a:gd name="connsiteY20" fmla="*/ 308875 h 5144400"/>
              <a:gd name="connsiteX21" fmla="*/ 7149078 w 9143999"/>
              <a:gd name="connsiteY21" fmla="*/ 410475 h 5144400"/>
              <a:gd name="connsiteX22" fmla="*/ 7087165 w 9143999"/>
              <a:gd name="connsiteY22" fmla="*/ 410475 h 5144400"/>
              <a:gd name="connsiteX23" fmla="*/ 7121217 w 9143999"/>
              <a:gd name="connsiteY23" fmla="*/ 308875 h 5144400"/>
              <a:gd name="connsiteX24" fmla="*/ 7471280 w 9143999"/>
              <a:gd name="connsiteY24" fmla="*/ 305701 h 5144400"/>
              <a:gd name="connsiteX25" fmla="*/ 7471280 w 9143999"/>
              <a:gd name="connsiteY25" fmla="*/ 336410 h 5144400"/>
              <a:gd name="connsiteX26" fmla="*/ 7539787 w 9143999"/>
              <a:gd name="connsiteY26" fmla="*/ 336410 h 5144400"/>
              <a:gd name="connsiteX27" fmla="*/ 7474394 w 9143999"/>
              <a:gd name="connsiteY27" fmla="*/ 465388 h 5144400"/>
              <a:gd name="connsiteX28" fmla="*/ 7471280 w 9143999"/>
              <a:gd name="connsiteY28" fmla="*/ 493026 h 5144400"/>
              <a:gd name="connsiteX29" fmla="*/ 7608294 w 9143999"/>
              <a:gd name="connsiteY29" fmla="*/ 493026 h 5144400"/>
              <a:gd name="connsiteX30" fmla="*/ 7630091 w 9143999"/>
              <a:gd name="connsiteY30" fmla="*/ 471529 h 5144400"/>
              <a:gd name="connsiteX31" fmla="*/ 7630091 w 9143999"/>
              <a:gd name="connsiteY31" fmla="*/ 459246 h 5144400"/>
              <a:gd name="connsiteX32" fmla="*/ 7592724 w 9143999"/>
              <a:gd name="connsiteY32" fmla="*/ 462317 h 5144400"/>
              <a:gd name="connsiteX33" fmla="*/ 7549129 w 9143999"/>
              <a:gd name="connsiteY33" fmla="*/ 462317 h 5144400"/>
              <a:gd name="connsiteX34" fmla="*/ 7626977 w 9143999"/>
              <a:gd name="connsiteY34" fmla="*/ 305701 h 5144400"/>
              <a:gd name="connsiteX35" fmla="*/ 7471280 w 9143999"/>
              <a:gd name="connsiteY35" fmla="*/ 305701 h 5144400"/>
              <a:gd name="connsiteX36" fmla="*/ 8622169 w 9143999"/>
              <a:gd name="connsiteY36" fmla="*/ 305700 h 5144400"/>
              <a:gd name="connsiteX37" fmla="*/ 8525441 w 9143999"/>
              <a:gd name="connsiteY37" fmla="*/ 397827 h 5144400"/>
              <a:gd name="connsiteX38" fmla="*/ 8619049 w 9143999"/>
              <a:gd name="connsiteY38" fmla="*/ 493025 h 5144400"/>
              <a:gd name="connsiteX39" fmla="*/ 8697055 w 9143999"/>
              <a:gd name="connsiteY39" fmla="*/ 434678 h 5144400"/>
              <a:gd name="connsiteX40" fmla="*/ 8644011 w 9143999"/>
              <a:gd name="connsiteY40" fmla="*/ 450033 h 5144400"/>
              <a:gd name="connsiteX41" fmla="*/ 8590966 w 9143999"/>
              <a:gd name="connsiteY41" fmla="*/ 403969 h 5144400"/>
              <a:gd name="connsiteX42" fmla="*/ 8706416 w 9143999"/>
              <a:gd name="connsiteY42" fmla="*/ 403969 h 5144400"/>
              <a:gd name="connsiteX43" fmla="*/ 8706416 w 9143999"/>
              <a:gd name="connsiteY43" fmla="*/ 382473 h 5144400"/>
              <a:gd name="connsiteX44" fmla="*/ 8622169 w 9143999"/>
              <a:gd name="connsiteY44" fmla="*/ 305700 h 5144400"/>
              <a:gd name="connsiteX45" fmla="*/ 8195215 w 9143999"/>
              <a:gd name="connsiteY45" fmla="*/ 305700 h 5144400"/>
              <a:gd name="connsiteX46" fmla="*/ 8098403 w 9143999"/>
              <a:gd name="connsiteY46" fmla="*/ 403969 h 5144400"/>
              <a:gd name="connsiteX47" fmla="*/ 8192092 w 9143999"/>
              <a:gd name="connsiteY47" fmla="*/ 493025 h 5144400"/>
              <a:gd name="connsiteX48" fmla="*/ 8288903 w 9143999"/>
              <a:gd name="connsiteY48" fmla="*/ 394756 h 5144400"/>
              <a:gd name="connsiteX49" fmla="*/ 8195215 w 9143999"/>
              <a:gd name="connsiteY49" fmla="*/ 305700 h 5144400"/>
              <a:gd name="connsiteX50" fmla="*/ 7739629 w 9143999"/>
              <a:gd name="connsiteY50" fmla="*/ 305700 h 5144400"/>
              <a:gd name="connsiteX51" fmla="*/ 7639616 w 9143999"/>
              <a:gd name="connsiteY51" fmla="*/ 403969 h 5144400"/>
              <a:gd name="connsiteX52" fmla="*/ 7739629 w 9143999"/>
              <a:gd name="connsiteY52" fmla="*/ 493025 h 5144400"/>
              <a:gd name="connsiteX53" fmla="*/ 7839641 w 9143999"/>
              <a:gd name="connsiteY53" fmla="*/ 394757 h 5144400"/>
              <a:gd name="connsiteX54" fmla="*/ 7739629 w 9143999"/>
              <a:gd name="connsiteY54" fmla="*/ 305700 h 5144400"/>
              <a:gd name="connsiteX55" fmla="*/ 7102867 w 9143999"/>
              <a:gd name="connsiteY55" fmla="*/ 256489 h 5144400"/>
              <a:gd name="connsiteX56" fmla="*/ 7018903 w 9143999"/>
              <a:gd name="connsiteY56" fmla="*/ 493026 h 5144400"/>
              <a:gd name="connsiteX57" fmla="*/ 7056220 w 9143999"/>
              <a:gd name="connsiteY57" fmla="*/ 493026 h 5144400"/>
              <a:gd name="connsiteX58" fmla="*/ 7077989 w 9143999"/>
              <a:gd name="connsiteY58" fmla="*/ 434659 h 5144400"/>
              <a:gd name="connsiteX59" fmla="*/ 7158843 w 9143999"/>
              <a:gd name="connsiteY59" fmla="*/ 434659 h 5144400"/>
              <a:gd name="connsiteX60" fmla="*/ 7171282 w 9143999"/>
              <a:gd name="connsiteY60" fmla="*/ 471522 h 5144400"/>
              <a:gd name="connsiteX61" fmla="*/ 7196160 w 9143999"/>
              <a:gd name="connsiteY61" fmla="*/ 493026 h 5144400"/>
              <a:gd name="connsiteX62" fmla="*/ 7245916 w 9143999"/>
              <a:gd name="connsiteY62" fmla="*/ 493026 h 5144400"/>
              <a:gd name="connsiteX63" fmla="*/ 7239697 w 9143999"/>
              <a:gd name="connsiteY63" fmla="*/ 477666 h 5144400"/>
              <a:gd name="connsiteX64" fmla="*/ 7180611 w 9143999"/>
              <a:gd name="connsiteY64" fmla="*/ 290280 h 5144400"/>
              <a:gd name="connsiteX65" fmla="*/ 7133965 w 9143999"/>
              <a:gd name="connsiteY65" fmla="*/ 256489 h 5144400"/>
              <a:gd name="connsiteX66" fmla="*/ 7102867 w 9143999"/>
              <a:gd name="connsiteY66" fmla="*/ 256489 h 5144400"/>
              <a:gd name="connsiteX67" fmla="*/ 7866628 w 9143999"/>
              <a:gd name="connsiteY67" fmla="*/ 256488 h 5144400"/>
              <a:gd name="connsiteX68" fmla="*/ 7866628 w 9143999"/>
              <a:gd name="connsiteY68" fmla="*/ 493025 h 5144400"/>
              <a:gd name="connsiteX69" fmla="*/ 7907268 w 9143999"/>
              <a:gd name="connsiteY69" fmla="*/ 493025 h 5144400"/>
              <a:gd name="connsiteX70" fmla="*/ 7907268 w 9143999"/>
              <a:gd name="connsiteY70" fmla="*/ 345574 h 5144400"/>
              <a:gd name="connsiteX71" fmla="*/ 8004179 w 9143999"/>
              <a:gd name="connsiteY71" fmla="*/ 462306 h 5144400"/>
              <a:gd name="connsiteX72" fmla="*/ 8041693 w 9143999"/>
              <a:gd name="connsiteY72" fmla="*/ 493025 h 5144400"/>
              <a:gd name="connsiteX73" fmla="*/ 8069828 w 9143999"/>
              <a:gd name="connsiteY73" fmla="*/ 493025 h 5144400"/>
              <a:gd name="connsiteX74" fmla="*/ 8069828 w 9143999"/>
              <a:gd name="connsiteY74" fmla="*/ 277992 h 5144400"/>
              <a:gd name="connsiteX75" fmla="*/ 8047945 w 9143999"/>
              <a:gd name="connsiteY75" fmla="*/ 256488 h 5144400"/>
              <a:gd name="connsiteX76" fmla="*/ 8029188 w 9143999"/>
              <a:gd name="connsiteY76" fmla="*/ 256488 h 5144400"/>
              <a:gd name="connsiteX77" fmla="*/ 8029188 w 9143999"/>
              <a:gd name="connsiteY77" fmla="*/ 400868 h 5144400"/>
              <a:gd name="connsiteX78" fmla="*/ 7938530 w 9143999"/>
              <a:gd name="connsiteY78" fmla="*/ 284136 h 5144400"/>
              <a:gd name="connsiteX79" fmla="*/ 7894764 w 9143999"/>
              <a:gd name="connsiteY79" fmla="*/ 256488 h 5144400"/>
              <a:gd name="connsiteX80" fmla="*/ 7866628 w 9143999"/>
              <a:gd name="connsiteY80" fmla="*/ 256488 h 5144400"/>
              <a:gd name="connsiteX81" fmla="*/ 8738166 w 9143999"/>
              <a:gd name="connsiteY81" fmla="*/ 237438 h 5144400"/>
              <a:gd name="connsiteX82" fmla="*/ 8738166 w 9143999"/>
              <a:gd name="connsiteY82" fmla="*/ 493025 h 5144400"/>
              <a:gd name="connsiteX83" fmla="*/ 8793729 w 9143999"/>
              <a:gd name="connsiteY83" fmla="*/ 493025 h 5144400"/>
              <a:gd name="connsiteX84" fmla="*/ 8793729 w 9143999"/>
              <a:gd name="connsiteY84" fmla="*/ 274390 h 5144400"/>
              <a:gd name="connsiteX85" fmla="*/ 8759774 w 9143999"/>
              <a:gd name="connsiteY85" fmla="*/ 237438 h 5144400"/>
              <a:gd name="connsiteX86" fmla="*/ 8738166 w 9143999"/>
              <a:gd name="connsiteY86" fmla="*/ 237438 h 5144400"/>
              <a:gd name="connsiteX87" fmla="*/ 8315891 w 9143999"/>
              <a:gd name="connsiteY87" fmla="*/ 237438 h 5144400"/>
              <a:gd name="connsiteX88" fmla="*/ 8315891 w 9143999"/>
              <a:gd name="connsiteY88" fmla="*/ 493025 h 5144400"/>
              <a:gd name="connsiteX89" fmla="*/ 8393965 w 9143999"/>
              <a:gd name="connsiteY89" fmla="*/ 493025 h 5144400"/>
              <a:gd name="connsiteX90" fmla="*/ 8506391 w 9143999"/>
              <a:gd name="connsiteY90" fmla="*/ 388327 h 5144400"/>
              <a:gd name="connsiteX91" fmla="*/ 8431440 w 9143999"/>
              <a:gd name="connsiteY91" fmla="*/ 308263 h 5144400"/>
              <a:gd name="connsiteX92" fmla="*/ 8381473 w 9143999"/>
              <a:gd name="connsiteY92" fmla="*/ 326740 h 5144400"/>
              <a:gd name="connsiteX93" fmla="*/ 8381473 w 9143999"/>
              <a:gd name="connsiteY93" fmla="*/ 274391 h 5144400"/>
              <a:gd name="connsiteX94" fmla="*/ 8340875 w 9143999"/>
              <a:gd name="connsiteY94" fmla="*/ 237438 h 5144400"/>
              <a:gd name="connsiteX95" fmla="*/ 8315891 w 9143999"/>
              <a:gd name="connsiteY95" fmla="*/ 237438 h 5144400"/>
              <a:gd name="connsiteX96" fmla="*/ 7268141 w 9143999"/>
              <a:gd name="connsiteY96" fmla="*/ 237438 h 5144400"/>
              <a:gd name="connsiteX97" fmla="*/ 7268141 w 9143999"/>
              <a:gd name="connsiteY97" fmla="*/ 493025 h 5144400"/>
              <a:gd name="connsiteX98" fmla="*/ 7333229 w 9143999"/>
              <a:gd name="connsiteY98" fmla="*/ 493025 h 5144400"/>
              <a:gd name="connsiteX99" fmla="*/ 7333229 w 9143999"/>
              <a:gd name="connsiteY99" fmla="*/ 420859 h 5144400"/>
              <a:gd name="connsiteX100" fmla="*/ 7333229 w 9143999"/>
              <a:gd name="connsiteY100" fmla="*/ 394758 h 5144400"/>
              <a:gd name="connsiteX101" fmla="*/ 7354980 w 9143999"/>
              <a:gd name="connsiteY101" fmla="*/ 433815 h 5144400"/>
              <a:gd name="connsiteX102" fmla="*/ 7370852 w 9143999"/>
              <a:gd name="connsiteY102" fmla="*/ 462317 h 5144400"/>
              <a:gd name="connsiteX103" fmla="*/ 7405341 w 9143999"/>
              <a:gd name="connsiteY103" fmla="*/ 493026 h 5144400"/>
              <a:gd name="connsiteX104" fmla="*/ 7458641 w 9143999"/>
              <a:gd name="connsiteY104" fmla="*/ 493026 h 5144400"/>
              <a:gd name="connsiteX105" fmla="*/ 7446100 w 9143999"/>
              <a:gd name="connsiteY105" fmla="*/ 477671 h 5144400"/>
              <a:gd name="connsiteX106" fmla="*/ 7395935 w 9143999"/>
              <a:gd name="connsiteY106" fmla="*/ 379402 h 5144400"/>
              <a:gd name="connsiteX107" fmla="*/ 7455506 w 9143999"/>
              <a:gd name="connsiteY107" fmla="*/ 305701 h 5144400"/>
              <a:gd name="connsiteX108" fmla="*/ 7402205 w 9143999"/>
              <a:gd name="connsiteY108" fmla="*/ 305701 h 5144400"/>
              <a:gd name="connsiteX109" fmla="*/ 7334306 w 9143999"/>
              <a:gd name="connsiteY109" fmla="*/ 393365 h 5144400"/>
              <a:gd name="connsiteX110" fmla="*/ 7333229 w 9143999"/>
              <a:gd name="connsiteY110" fmla="*/ 394755 h 5144400"/>
              <a:gd name="connsiteX111" fmla="*/ 7333229 w 9143999"/>
              <a:gd name="connsiteY111" fmla="*/ 366627 h 5144400"/>
              <a:gd name="connsiteX112" fmla="*/ 7333229 w 9143999"/>
              <a:gd name="connsiteY112" fmla="*/ 274391 h 5144400"/>
              <a:gd name="connsiteX113" fmla="*/ 7289837 w 9143999"/>
              <a:gd name="connsiteY113" fmla="*/ 237438 h 5144400"/>
              <a:gd name="connsiteX114" fmla="*/ 7268141 w 9143999"/>
              <a:gd name="connsiteY114" fmla="*/ 237438 h 5144400"/>
              <a:gd name="connsiteX115" fmla="*/ 8932543 w 9143999"/>
              <a:gd name="connsiteY115" fmla="*/ 0 h 5144400"/>
              <a:gd name="connsiteX116" fmla="*/ 9143999 w 9143999"/>
              <a:gd name="connsiteY116" fmla="*/ 0 h 5144400"/>
              <a:gd name="connsiteX117" fmla="*/ 9143999 w 9143999"/>
              <a:gd name="connsiteY117" fmla="*/ 5144400 h 5144400"/>
              <a:gd name="connsiteX118" fmla="*/ 9027314 w 9143999"/>
              <a:gd name="connsiteY118" fmla="*/ 5144400 h 5144400"/>
              <a:gd name="connsiteX119" fmla="*/ 9009627 w 9143999"/>
              <a:gd name="connsiteY119" fmla="*/ 5144400 h 5144400"/>
              <a:gd name="connsiteX120" fmla="*/ 8932543 w 9143999"/>
              <a:gd name="connsiteY120" fmla="*/ 5144400 h 5144400"/>
              <a:gd name="connsiteX121" fmla="*/ 8853155 w 9143999"/>
              <a:gd name="connsiteY121" fmla="*/ 5144400 h 5144400"/>
              <a:gd name="connsiteX122" fmla="*/ 0 w 9143999"/>
              <a:gd name="connsiteY122" fmla="*/ 5144400 h 5144400"/>
              <a:gd name="connsiteX123" fmla="*/ 0 w 9143999"/>
              <a:gd name="connsiteY123" fmla="*/ 902 h 5144400"/>
              <a:gd name="connsiteX124" fmla="*/ 8853155 w 9143999"/>
              <a:gd name="connsiteY124" fmla="*/ 902 h 5144400"/>
              <a:gd name="connsiteX125" fmla="*/ 8853155 w 9143999"/>
              <a:gd name="connsiteY125" fmla="*/ 900 h 5144400"/>
              <a:gd name="connsiteX126" fmla="*/ 8932543 w 9143999"/>
              <a:gd name="connsiteY126" fmla="*/ 9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</a:cxnLst>
            <a:rect l="l" t="t" r="r" b="b"/>
            <a:pathLst>
              <a:path w="9143999" h="5144400">
                <a:moveTo>
                  <a:pt x="8398022" y="345388"/>
                </a:moveTo>
                <a:cubicBezTo>
                  <a:pt x="8419663" y="345388"/>
                  <a:pt x="8441303" y="367043"/>
                  <a:pt x="8441303" y="397979"/>
                </a:cubicBezTo>
                <a:cubicBezTo>
                  <a:pt x="8441303" y="441289"/>
                  <a:pt x="8422754" y="466038"/>
                  <a:pt x="8391839" y="466038"/>
                </a:cubicBezTo>
                <a:cubicBezTo>
                  <a:pt x="8382565" y="466038"/>
                  <a:pt x="8382565" y="466038"/>
                  <a:pt x="8382565" y="466038"/>
                </a:cubicBezTo>
                <a:cubicBezTo>
                  <a:pt x="8382565" y="348482"/>
                  <a:pt x="8382565" y="348482"/>
                  <a:pt x="8382565" y="348482"/>
                </a:cubicBezTo>
                <a:cubicBezTo>
                  <a:pt x="8385656" y="345388"/>
                  <a:pt x="8388748" y="345388"/>
                  <a:pt x="8398022" y="345388"/>
                </a:cubicBezTo>
                <a:close/>
                <a:moveTo>
                  <a:pt x="8194405" y="339038"/>
                </a:moveTo>
                <a:cubicBezTo>
                  <a:pt x="8212954" y="339038"/>
                  <a:pt x="8222228" y="366899"/>
                  <a:pt x="8222228" y="404046"/>
                </a:cubicBezTo>
                <a:cubicBezTo>
                  <a:pt x="8222228" y="441194"/>
                  <a:pt x="8212954" y="462863"/>
                  <a:pt x="8194405" y="462863"/>
                </a:cubicBezTo>
                <a:cubicBezTo>
                  <a:pt x="8172765" y="462863"/>
                  <a:pt x="8163490" y="438098"/>
                  <a:pt x="8163490" y="400951"/>
                </a:cubicBezTo>
                <a:cubicBezTo>
                  <a:pt x="8163490" y="363803"/>
                  <a:pt x="8172765" y="339038"/>
                  <a:pt x="8194405" y="339038"/>
                </a:cubicBezTo>
                <a:close/>
                <a:moveTo>
                  <a:pt x="7739627" y="339038"/>
                </a:moveTo>
                <a:cubicBezTo>
                  <a:pt x="7761852" y="339038"/>
                  <a:pt x="7768202" y="366899"/>
                  <a:pt x="7768202" y="404046"/>
                </a:cubicBezTo>
                <a:cubicBezTo>
                  <a:pt x="7768202" y="441194"/>
                  <a:pt x="7761852" y="462863"/>
                  <a:pt x="7739627" y="462863"/>
                </a:cubicBezTo>
                <a:cubicBezTo>
                  <a:pt x="7717402" y="462863"/>
                  <a:pt x="7711052" y="438098"/>
                  <a:pt x="7711052" y="400951"/>
                </a:cubicBezTo>
                <a:cubicBezTo>
                  <a:pt x="7711052" y="363803"/>
                  <a:pt x="7717402" y="339038"/>
                  <a:pt x="7739627" y="339038"/>
                </a:cubicBezTo>
                <a:close/>
                <a:moveTo>
                  <a:pt x="8619102" y="335863"/>
                </a:moveTo>
                <a:cubicBezTo>
                  <a:pt x="8644502" y="335863"/>
                  <a:pt x="8650852" y="378725"/>
                  <a:pt x="8650852" y="378725"/>
                </a:cubicBezTo>
                <a:cubicBezTo>
                  <a:pt x="8590527" y="378725"/>
                  <a:pt x="8590527" y="378725"/>
                  <a:pt x="8590527" y="378725"/>
                </a:cubicBezTo>
                <a:cubicBezTo>
                  <a:pt x="8590527" y="354233"/>
                  <a:pt x="8600052" y="335863"/>
                  <a:pt x="8619102" y="335863"/>
                </a:cubicBezTo>
                <a:close/>
                <a:moveTo>
                  <a:pt x="7121217" y="308875"/>
                </a:moveTo>
                <a:cubicBezTo>
                  <a:pt x="7149078" y="410475"/>
                  <a:pt x="7149078" y="410475"/>
                  <a:pt x="7149078" y="410475"/>
                </a:cubicBezTo>
                <a:cubicBezTo>
                  <a:pt x="7087165" y="410475"/>
                  <a:pt x="7087165" y="410475"/>
                  <a:pt x="7087165" y="410475"/>
                </a:cubicBezTo>
                <a:cubicBezTo>
                  <a:pt x="7121217" y="308875"/>
                  <a:pt x="7121217" y="308875"/>
                  <a:pt x="7121217" y="308875"/>
                </a:cubicBezTo>
                <a:close/>
                <a:moveTo>
                  <a:pt x="7471280" y="305701"/>
                </a:moveTo>
                <a:cubicBezTo>
                  <a:pt x="7471280" y="336410"/>
                  <a:pt x="7471280" y="336410"/>
                  <a:pt x="7471280" y="336410"/>
                </a:cubicBezTo>
                <a:cubicBezTo>
                  <a:pt x="7539787" y="336410"/>
                  <a:pt x="7539787" y="336410"/>
                  <a:pt x="7539787" y="336410"/>
                </a:cubicBezTo>
                <a:cubicBezTo>
                  <a:pt x="7474394" y="465388"/>
                  <a:pt x="7474394" y="465388"/>
                  <a:pt x="7474394" y="465388"/>
                </a:cubicBezTo>
                <a:cubicBezTo>
                  <a:pt x="7468166" y="477671"/>
                  <a:pt x="7468166" y="486884"/>
                  <a:pt x="7471280" y="493026"/>
                </a:cubicBezTo>
                <a:cubicBezTo>
                  <a:pt x="7608294" y="493026"/>
                  <a:pt x="7608294" y="493026"/>
                  <a:pt x="7608294" y="493026"/>
                </a:cubicBezTo>
                <a:cubicBezTo>
                  <a:pt x="7620749" y="493026"/>
                  <a:pt x="7630091" y="483813"/>
                  <a:pt x="7630091" y="471529"/>
                </a:cubicBezTo>
                <a:cubicBezTo>
                  <a:pt x="7630091" y="459246"/>
                  <a:pt x="7630091" y="459246"/>
                  <a:pt x="7630091" y="459246"/>
                </a:cubicBezTo>
                <a:cubicBezTo>
                  <a:pt x="7623863" y="462317"/>
                  <a:pt x="7614522" y="462317"/>
                  <a:pt x="7592724" y="462317"/>
                </a:cubicBezTo>
                <a:cubicBezTo>
                  <a:pt x="7549129" y="462317"/>
                  <a:pt x="7549129" y="462317"/>
                  <a:pt x="7549129" y="462317"/>
                </a:cubicBezTo>
                <a:cubicBezTo>
                  <a:pt x="7626977" y="305701"/>
                  <a:pt x="7626977" y="305701"/>
                  <a:pt x="7626977" y="305701"/>
                </a:cubicBezTo>
                <a:cubicBezTo>
                  <a:pt x="7471280" y="305701"/>
                  <a:pt x="7471280" y="305701"/>
                  <a:pt x="7471280" y="305701"/>
                </a:cubicBezTo>
                <a:close/>
                <a:moveTo>
                  <a:pt x="8622169" y="305700"/>
                </a:moveTo>
                <a:cubicBezTo>
                  <a:pt x="8566004" y="305700"/>
                  <a:pt x="8525441" y="342551"/>
                  <a:pt x="8525441" y="397827"/>
                </a:cubicBezTo>
                <a:cubicBezTo>
                  <a:pt x="8525441" y="453103"/>
                  <a:pt x="8562884" y="493025"/>
                  <a:pt x="8619049" y="493025"/>
                </a:cubicBezTo>
                <a:cubicBezTo>
                  <a:pt x="8675213" y="493025"/>
                  <a:pt x="8697055" y="462316"/>
                  <a:pt x="8697055" y="434678"/>
                </a:cubicBezTo>
                <a:cubicBezTo>
                  <a:pt x="8684574" y="443891"/>
                  <a:pt x="8665853" y="450033"/>
                  <a:pt x="8644011" y="450033"/>
                </a:cubicBezTo>
                <a:cubicBezTo>
                  <a:pt x="8612808" y="450033"/>
                  <a:pt x="8590966" y="431607"/>
                  <a:pt x="8590966" y="403969"/>
                </a:cubicBezTo>
                <a:cubicBezTo>
                  <a:pt x="8706416" y="403969"/>
                  <a:pt x="8706416" y="403969"/>
                  <a:pt x="8706416" y="403969"/>
                </a:cubicBezTo>
                <a:cubicBezTo>
                  <a:pt x="8706416" y="394756"/>
                  <a:pt x="8706416" y="388615"/>
                  <a:pt x="8706416" y="382473"/>
                </a:cubicBezTo>
                <a:cubicBezTo>
                  <a:pt x="8706416" y="339480"/>
                  <a:pt x="8675213" y="305700"/>
                  <a:pt x="8622169" y="305700"/>
                </a:cubicBezTo>
                <a:close/>
                <a:moveTo>
                  <a:pt x="8195215" y="305700"/>
                </a:moveTo>
                <a:cubicBezTo>
                  <a:pt x="8139002" y="305700"/>
                  <a:pt x="8098403" y="342551"/>
                  <a:pt x="8098403" y="403969"/>
                </a:cubicBezTo>
                <a:cubicBezTo>
                  <a:pt x="8098403" y="456174"/>
                  <a:pt x="8139002" y="493025"/>
                  <a:pt x="8192092" y="493025"/>
                </a:cubicBezTo>
                <a:cubicBezTo>
                  <a:pt x="8245182" y="493025"/>
                  <a:pt x="8288903" y="456174"/>
                  <a:pt x="8288903" y="394756"/>
                </a:cubicBezTo>
                <a:cubicBezTo>
                  <a:pt x="8288903" y="342551"/>
                  <a:pt x="8248305" y="305700"/>
                  <a:pt x="8195215" y="305700"/>
                </a:cubicBezTo>
                <a:close/>
                <a:moveTo>
                  <a:pt x="7739629" y="305700"/>
                </a:moveTo>
                <a:cubicBezTo>
                  <a:pt x="7686497" y="305700"/>
                  <a:pt x="7639616" y="342551"/>
                  <a:pt x="7639616" y="403969"/>
                </a:cubicBezTo>
                <a:cubicBezTo>
                  <a:pt x="7639616" y="456175"/>
                  <a:pt x="7686497" y="493025"/>
                  <a:pt x="7739629" y="493025"/>
                </a:cubicBezTo>
                <a:cubicBezTo>
                  <a:pt x="7792760" y="493025"/>
                  <a:pt x="7839641" y="456175"/>
                  <a:pt x="7839641" y="394757"/>
                </a:cubicBezTo>
                <a:cubicBezTo>
                  <a:pt x="7839641" y="342551"/>
                  <a:pt x="7795886" y="305700"/>
                  <a:pt x="7739629" y="305700"/>
                </a:cubicBezTo>
                <a:close/>
                <a:moveTo>
                  <a:pt x="7102867" y="256489"/>
                </a:moveTo>
                <a:cubicBezTo>
                  <a:pt x="7018903" y="493026"/>
                  <a:pt x="7018903" y="493026"/>
                  <a:pt x="7018903" y="493026"/>
                </a:cubicBezTo>
                <a:cubicBezTo>
                  <a:pt x="7056220" y="493026"/>
                  <a:pt x="7056220" y="493026"/>
                  <a:pt x="7056220" y="493026"/>
                </a:cubicBezTo>
                <a:cubicBezTo>
                  <a:pt x="7077989" y="434659"/>
                  <a:pt x="7077989" y="434659"/>
                  <a:pt x="7077989" y="434659"/>
                </a:cubicBezTo>
                <a:cubicBezTo>
                  <a:pt x="7158843" y="434659"/>
                  <a:pt x="7158843" y="434659"/>
                  <a:pt x="7158843" y="434659"/>
                </a:cubicBezTo>
                <a:cubicBezTo>
                  <a:pt x="7171282" y="471522"/>
                  <a:pt x="7171282" y="471522"/>
                  <a:pt x="7171282" y="471522"/>
                </a:cubicBezTo>
                <a:cubicBezTo>
                  <a:pt x="7177501" y="486882"/>
                  <a:pt x="7180611" y="493026"/>
                  <a:pt x="7196160" y="493026"/>
                </a:cubicBezTo>
                <a:cubicBezTo>
                  <a:pt x="7245916" y="493026"/>
                  <a:pt x="7245916" y="493026"/>
                  <a:pt x="7245916" y="493026"/>
                </a:cubicBezTo>
                <a:cubicBezTo>
                  <a:pt x="7245916" y="489954"/>
                  <a:pt x="7242806" y="486882"/>
                  <a:pt x="7239697" y="477666"/>
                </a:cubicBezTo>
                <a:cubicBezTo>
                  <a:pt x="7180611" y="290280"/>
                  <a:pt x="7180611" y="290280"/>
                  <a:pt x="7180611" y="290280"/>
                </a:cubicBezTo>
                <a:cubicBezTo>
                  <a:pt x="7171282" y="268776"/>
                  <a:pt x="7161953" y="256489"/>
                  <a:pt x="7133965" y="256489"/>
                </a:cubicBezTo>
                <a:cubicBezTo>
                  <a:pt x="7102867" y="256489"/>
                  <a:pt x="7102867" y="256489"/>
                  <a:pt x="7102867" y="256489"/>
                </a:cubicBezTo>
                <a:close/>
                <a:moveTo>
                  <a:pt x="7866628" y="256488"/>
                </a:moveTo>
                <a:cubicBezTo>
                  <a:pt x="7866628" y="493025"/>
                  <a:pt x="7866628" y="493025"/>
                  <a:pt x="7866628" y="493025"/>
                </a:cubicBezTo>
                <a:cubicBezTo>
                  <a:pt x="7907268" y="493025"/>
                  <a:pt x="7907268" y="493025"/>
                  <a:pt x="7907268" y="493025"/>
                </a:cubicBezTo>
                <a:cubicBezTo>
                  <a:pt x="7907268" y="345574"/>
                  <a:pt x="7907268" y="345574"/>
                  <a:pt x="7907268" y="345574"/>
                </a:cubicBezTo>
                <a:cubicBezTo>
                  <a:pt x="8004179" y="462306"/>
                  <a:pt x="8004179" y="462306"/>
                  <a:pt x="8004179" y="462306"/>
                </a:cubicBezTo>
                <a:cubicBezTo>
                  <a:pt x="8016684" y="480738"/>
                  <a:pt x="8026062" y="493025"/>
                  <a:pt x="8041693" y="493025"/>
                </a:cubicBezTo>
                <a:cubicBezTo>
                  <a:pt x="8069828" y="493025"/>
                  <a:pt x="8069828" y="493025"/>
                  <a:pt x="8069828" y="493025"/>
                </a:cubicBezTo>
                <a:cubicBezTo>
                  <a:pt x="8069828" y="277992"/>
                  <a:pt x="8069828" y="277992"/>
                  <a:pt x="8069828" y="277992"/>
                </a:cubicBezTo>
                <a:cubicBezTo>
                  <a:pt x="8069828" y="265704"/>
                  <a:pt x="8060450" y="256488"/>
                  <a:pt x="8047945" y="256488"/>
                </a:cubicBezTo>
                <a:cubicBezTo>
                  <a:pt x="8029188" y="256488"/>
                  <a:pt x="8029188" y="256488"/>
                  <a:pt x="8029188" y="256488"/>
                </a:cubicBezTo>
                <a:cubicBezTo>
                  <a:pt x="8029188" y="400868"/>
                  <a:pt x="8029188" y="400868"/>
                  <a:pt x="8029188" y="400868"/>
                </a:cubicBezTo>
                <a:cubicBezTo>
                  <a:pt x="7938530" y="284136"/>
                  <a:pt x="7938530" y="284136"/>
                  <a:pt x="7938530" y="284136"/>
                </a:cubicBezTo>
                <a:cubicBezTo>
                  <a:pt x="7922899" y="268776"/>
                  <a:pt x="7916647" y="256488"/>
                  <a:pt x="7894764" y="256488"/>
                </a:cubicBezTo>
                <a:cubicBezTo>
                  <a:pt x="7866628" y="256488"/>
                  <a:pt x="7866628" y="256488"/>
                  <a:pt x="7866628" y="256488"/>
                </a:cubicBezTo>
                <a:close/>
                <a:moveTo>
                  <a:pt x="8738166" y="237438"/>
                </a:moveTo>
                <a:cubicBezTo>
                  <a:pt x="8738166" y="493025"/>
                  <a:pt x="8738166" y="493025"/>
                  <a:pt x="8738166" y="493025"/>
                </a:cubicBezTo>
                <a:cubicBezTo>
                  <a:pt x="8793729" y="493025"/>
                  <a:pt x="8793729" y="493025"/>
                  <a:pt x="8793729" y="493025"/>
                </a:cubicBezTo>
                <a:cubicBezTo>
                  <a:pt x="8793729" y="274390"/>
                  <a:pt x="8793729" y="274390"/>
                  <a:pt x="8793729" y="274390"/>
                </a:cubicBezTo>
                <a:cubicBezTo>
                  <a:pt x="8793729" y="252835"/>
                  <a:pt x="8778295" y="237438"/>
                  <a:pt x="8759774" y="237438"/>
                </a:cubicBezTo>
                <a:cubicBezTo>
                  <a:pt x="8738166" y="237438"/>
                  <a:pt x="8738166" y="237438"/>
                  <a:pt x="8738166" y="237438"/>
                </a:cubicBezTo>
                <a:close/>
                <a:moveTo>
                  <a:pt x="8315891" y="237438"/>
                </a:moveTo>
                <a:cubicBezTo>
                  <a:pt x="8315891" y="493025"/>
                  <a:pt x="8315891" y="493025"/>
                  <a:pt x="8315891" y="493025"/>
                </a:cubicBezTo>
                <a:cubicBezTo>
                  <a:pt x="8393965" y="493025"/>
                  <a:pt x="8393965" y="493025"/>
                  <a:pt x="8393965" y="493025"/>
                </a:cubicBezTo>
                <a:cubicBezTo>
                  <a:pt x="8465793" y="493025"/>
                  <a:pt x="8506391" y="456073"/>
                  <a:pt x="8506391" y="388327"/>
                </a:cubicBezTo>
                <a:cubicBezTo>
                  <a:pt x="8506391" y="342136"/>
                  <a:pt x="8475161" y="308263"/>
                  <a:pt x="8431440" y="308263"/>
                </a:cubicBezTo>
                <a:cubicBezTo>
                  <a:pt x="8409580" y="308263"/>
                  <a:pt x="8390842" y="317502"/>
                  <a:pt x="8381473" y="326740"/>
                </a:cubicBezTo>
                <a:cubicBezTo>
                  <a:pt x="8381473" y="274391"/>
                  <a:pt x="8381473" y="274391"/>
                  <a:pt x="8381473" y="274391"/>
                </a:cubicBezTo>
                <a:cubicBezTo>
                  <a:pt x="8381473" y="252835"/>
                  <a:pt x="8362735" y="237438"/>
                  <a:pt x="8340875" y="237438"/>
                </a:cubicBezTo>
                <a:cubicBezTo>
                  <a:pt x="8315891" y="237438"/>
                  <a:pt x="8315891" y="237438"/>
                  <a:pt x="8315891" y="237438"/>
                </a:cubicBezTo>
                <a:close/>
                <a:moveTo>
                  <a:pt x="7268141" y="237438"/>
                </a:moveTo>
                <a:cubicBezTo>
                  <a:pt x="7268141" y="493025"/>
                  <a:pt x="7268141" y="493025"/>
                  <a:pt x="7268141" y="493025"/>
                </a:cubicBezTo>
                <a:cubicBezTo>
                  <a:pt x="7333229" y="493025"/>
                  <a:pt x="7333229" y="493025"/>
                  <a:pt x="7333229" y="493025"/>
                </a:cubicBezTo>
                <a:cubicBezTo>
                  <a:pt x="7333229" y="465696"/>
                  <a:pt x="7333229" y="441783"/>
                  <a:pt x="7333229" y="420859"/>
                </a:cubicBezTo>
                <a:lnTo>
                  <a:pt x="7333229" y="394758"/>
                </a:lnTo>
                <a:lnTo>
                  <a:pt x="7354980" y="433815"/>
                </a:lnTo>
                <a:cubicBezTo>
                  <a:pt x="7370852" y="462317"/>
                  <a:pt x="7370852" y="462317"/>
                  <a:pt x="7370852" y="462317"/>
                </a:cubicBezTo>
                <a:cubicBezTo>
                  <a:pt x="7380258" y="483813"/>
                  <a:pt x="7383393" y="493026"/>
                  <a:pt x="7405341" y="493026"/>
                </a:cubicBezTo>
                <a:cubicBezTo>
                  <a:pt x="7458641" y="493026"/>
                  <a:pt x="7458641" y="493026"/>
                  <a:pt x="7458641" y="493026"/>
                </a:cubicBezTo>
                <a:cubicBezTo>
                  <a:pt x="7455506" y="489955"/>
                  <a:pt x="7452371" y="486884"/>
                  <a:pt x="7446100" y="477671"/>
                </a:cubicBezTo>
                <a:cubicBezTo>
                  <a:pt x="7395935" y="379402"/>
                  <a:pt x="7395935" y="379402"/>
                  <a:pt x="7395935" y="379402"/>
                </a:cubicBezTo>
                <a:cubicBezTo>
                  <a:pt x="7455506" y="305701"/>
                  <a:pt x="7455506" y="305701"/>
                  <a:pt x="7455506" y="305701"/>
                </a:cubicBezTo>
                <a:cubicBezTo>
                  <a:pt x="7402205" y="305701"/>
                  <a:pt x="7402205" y="305701"/>
                  <a:pt x="7402205" y="305701"/>
                </a:cubicBezTo>
                <a:cubicBezTo>
                  <a:pt x="7350473" y="372493"/>
                  <a:pt x="7337539" y="389191"/>
                  <a:pt x="7334306" y="393365"/>
                </a:cubicBezTo>
                <a:lnTo>
                  <a:pt x="7333229" y="394755"/>
                </a:lnTo>
                <a:lnTo>
                  <a:pt x="7333229" y="366627"/>
                </a:lnTo>
                <a:cubicBezTo>
                  <a:pt x="7333229" y="274391"/>
                  <a:pt x="7333229" y="274391"/>
                  <a:pt x="7333229" y="274391"/>
                </a:cubicBezTo>
                <a:cubicBezTo>
                  <a:pt x="7333229" y="252835"/>
                  <a:pt x="7314633" y="237438"/>
                  <a:pt x="7289837" y="237438"/>
                </a:cubicBezTo>
                <a:cubicBezTo>
                  <a:pt x="7268141" y="237438"/>
                  <a:pt x="7268141" y="237438"/>
                  <a:pt x="7268141" y="237438"/>
                </a:cubicBezTo>
                <a:close/>
                <a:moveTo>
                  <a:pt x="8932543" y="0"/>
                </a:moveTo>
                <a:lnTo>
                  <a:pt x="9143999" y="0"/>
                </a:lnTo>
                <a:lnTo>
                  <a:pt x="9143999" y="5144400"/>
                </a:lnTo>
                <a:lnTo>
                  <a:pt x="9027314" y="5144400"/>
                </a:lnTo>
                <a:lnTo>
                  <a:pt x="9009627" y="5144400"/>
                </a:lnTo>
                <a:lnTo>
                  <a:pt x="8932543" y="5144400"/>
                </a:lnTo>
                <a:lnTo>
                  <a:pt x="8853155" y="5144400"/>
                </a:lnTo>
                <a:lnTo>
                  <a:pt x="0" y="5144400"/>
                </a:lnTo>
                <a:lnTo>
                  <a:pt x="0" y="902"/>
                </a:lnTo>
                <a:lnTo>
                  <a:pt x="8853155" y="902"/>
                </a:lnTo>
                <a:lnTo>
                  <a:pt x="8853155" y="900"/>
                </a:lnTo>
                <a:lnTo>
                  <a:pt x="8932543" y="900"/>
                </a:lnTo>
                <a:close/>
              </a:path>
            </a:pathLst>
          </a:custGeom>
          <a:solidFill>
            <a:srgbClr val="B9C9D0">
              <a:alpha val="50000"/>
            </a:srgbClr>
          </a:solidFill>
        </p:spPr>
        <p:txBody>
          <a:bodyPr wrap="square" bIns="720000" anchor="ctr" anchorCtr="0">
            <a:noAutofit/>
          </a:bodyPr>
          <a:lstStyle>
            <a:lvl1pPr algn="ctr">
              <a:defRPr sz="1600"/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7" imgH="357" progId="">
                  <p:embed/>
                </p:oleObj>
              </mc:Choice>
              <mc:Fallback>
                <p:oleObj name="think-cell Slide" r:id="rId3" imgW="357" imgH="357" progId="">
                  <p:embed/>
                  <p:pic>
                    <p:nvPicPr>
                      <p:cNvPr id="24" name="Object 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/>
        </p:nvGrpSpPr>
        <p:grpSpPr bwMode="gray">
          <a:xfrm>
            <a:off x="12382500" y="243579"/>
            <a:ext cx="2108200" cy="4306501"/>
            <a:chOff x="9286875" y="182684"/>
            <a:chExt cx="1581150" cy="3229876"/>
          </a:xfrm>
        </p:grpSpPr>
        <p:sp>
          <p:nvSpPr>
            <p:cNvPr id="29" name="Rectangle 28"/>
            <p:cNvSpPr/>
            <p:nvPr/>
          </p:nvSpPr>
          <p:spPr bwMode="gray">
            <a:xfrm>
              <a:off x="9288779" y="182684"/>
              <a:ext cx="1579245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1" dirty="0">
                  <a:solidFill>
                    <a:schemeClr val="tx1"/>
                  </a:solidFill>
                </a:rPr>
                <a:t>Crop picture</a:t>
              </a:r>
            </a:p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Select picture &gt; 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ab “Picture Tools &gt; Format”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9288780" y="1261435"/>
              <a:ext cx="1579244" cy="1662924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540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Click</a:t>
              </a:r>
              <a:r>
                <a:rPr lang="en-US" sz="1200" b="0" baseline="0" dirty="0">
                  <a:solidFill>
                    <a:schemeClr val="tx1"/>
                  </a:solidFill>
                </a:rPr>
                <a:t> on the icon </a:t>
              </a:r>
              <a:br>
                <a:rPr lang="en-US" sz="1200" b="0" baseline="0" dirty="0">
                  <a:solidFill>
                    <a:schemeClr val="tx1"/>
                  </a:solidFill>
                </a:rPr>
              </a:br>
              <a:r>
                <a:rPr lang="en-US" sz="1200" b="0" baseline="0" dirty="0">
                  <a:solidFill>
                    <a:schemeClr val="tx1"/>
                  </a:solidFill>
                </a:rPr>
                <a:t>above “Crop”</a:t>
              </a:r>
            </a:p>
            <a:p>
              <a:pPr algn="l"/>
              <a:endParaRPr lang="en-US" sz="1200" b="0" baseline="0" dirty="0">
                <a:solidFill>
                  <a:schemeClr val="tx1"/>
                </a:solidFill>
              </a:endParaRPr>
            </a:p>
            <a:p>
              <a:pPr algn="l"/>
              <a:r>
                <a:rPr lang="en-US" sz="1200" b="0" baseline="0" dirty="0">
                  <a:solidFill>
                    <a:schemeClr val="tx1"/>
                  </a:solidFill>
                </a:rPr>
                <a:t>You will see crop and scale markers on the corners</a:t>
              </a:r>
              <a:endParaRPr lang="en-US" sz="1200" b="0" dirty="0">
                <a:solidFill>
                  <a:schemeClr val="tx1"/>
                </a:solidFill>
              </a:endParaRPr>
            </a:p>
          </p:txBody>
        </p:sp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901238" y="2334293"/>
              <a:ext cx="352425" cy="352425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286875" y="670885"/>
              <a:ext cx="1581150" cy="590550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920"/>
            <a:stretch/>
          </p:blipFill>
          <p:spPr bwMode="gray">
            <a:xfrm>
              <a:off x="10313189" y="1261435"/>
              <a:ext cx="511967" cy="876300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9334505" y="2334294"/>
              <a:ext cx="352425" cy="352425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10467970" y="2334294"/>
              <a:ext cx="352425" cy="352425"/>
            </a:xfrm>
            <a:prstGeom prst="rect">
              <a:avLst/>
            </a:prstGeom>
          </p:spPr>
        </p:pic>
        <p:sp>
          <p:nvSpPr>
            <p:cNvPr id="38" name="Rectangle 37"/>
            <p:cNvSpPr/>
            <p:nvPr/>
          </p:nvSpPr>
          <p:spPr bwMode="gray">
            <a:xfrm>
              <a:off x="10313189" y="1320967"/>
              <a:ext cx="442912" cy="442912"/>
            </a:xfrm>
            <a:prstGeom prst="rect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9288780" y="2924359"/>
              <a:ext cx="1579244" cy="48820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t" anchorCtr="0">
              <a:noAutofit/>
            </a:bodyPr>
            <a:lstStyle/>
            <a:p>
              <a:pPr algn="l"/>
              <a:r>
                <a:rPr lang="en-US" sz="1200" b="0" dirty="0">
                  <a:solidFill>
                    <a:schemeClr val="tx1"/>
                  </a:solidFill>
                </a:rPr>
                <a:t>Use the “circular scale icon” to scale your picture within the cropped region.</a:t>
              </a:r>
            </a:p>
          </p:txBody>
        </p:sp>
        <p:cxnSp>
          <p:nvCxnSpPr>
            <p:cNvPr id="40" name="Straight Arrow Connector 39"/>
            <p:cNvCxnSpPr/>
            <p:nvPr/>
          </p:nvCxnSpPr>
          <p:spPr bwMode="gray">
            <a:xfrm flipV="1">
              <a:off x="951071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>
              <a:stCxn id="31" idx="0"/>
              <a:endCxn id="31" idx="2"/>
            </p:cNvCxnSpPr>
            <p:nvPr/>
          </p:nvCxnSpPr>
          <p:spPr bwMode="gray">
            <a:xfrm rot="2700000">
              <a:off x="10077452" y="2238205"/>
              <a:ext cx="0" cy="544604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>
              <a:stCxn id="31" idx="3"/>
              <a:endCxn id="31" idx="1"/>
            </p:cNvCxnSpPr>
            <p:nvPr/>
          </p:nvCxnSpPr>
          <p:spPr bwMode="gray">
            <a:xfrm rot="2700000" flipH="1">
              <a:off x="9805146" y="2510507"/>
              <a:ext cx="544608" cy="0"/>
            </a:xfrm>
            <a:prstGeom prst="line">
              <a:avLst/>
            </a:prstGeom>
            <a:ln w="254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/>
            <p:cNvCxnSpPr/>
            <p:nvPr/>
          </p:nvCxnSpPr>
          <p:spPr bwMode="gray">
            <a:xfrm flipV="1">
              <a:off x="10691808" y="2725307"/>
              <a:ext cx="0" cy="180000"/>
            </a:xfrm>
            <a:prstGeom prst="straightConnector1">
              <a:avLst/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Oval 63"/>
            <p:cNvSpPr/>
            <p:nvPr/>
          </p:nvSpPr>
          <p:spPr bwMode="gray">
            <a:xfrm>
              <a:off x="10587033" y="2453357"/>
              <a:ext cx="233362" cy="233362"/>
            </a:xfrm>
            <a:prstGeom prst="ellipse">
              <a:avLst/>
            </a:prstGeom>
            <a:solidFill>
              <a:srgbClr val="FFFFFF">
                <a:alpha val="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43" name="Text Placeholder 30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9899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accent1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867" baseline="0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1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44" name="Text Placeholder 30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498125" y="3138422"/>
            <a:ext cx="2172380" cy="2172380"/>
          </a:xfrm>
          <a:prstGeom prst="snip2DiagRect">
            <a:avLst>
              <a:gd name="adj1" fmla="val 15589"/>
              <a:gd name="adj2" fmla="val 0"/>
            </a:avLst>
          </a:prstGeom>
          <a:solidFill>
            <a:schemeClr val="accent2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867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2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5" name="Text Placeholder 30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526350" y="3138422"/>
            <a:ext cx="2172380" cy="2172380"/>
          </a:xfrm>
          <a:prstGeom prst="snip2DiagRect">
            <a:avLst>
              <a:gd name="adj1" fmla="val 15394"/>
              <a:gd name="adj2" fmla="val 0"/>
            </a:avLst>
          </a:prstGeom>
          <a:solidFill>
            <a:schemeClr val="accent3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867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3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6" name="Text Placeholder 3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9554577" y="3138422"/>
            <a:ext cx="2172380" cy="2172380"/>
          </a:xfrm>
          <a:prstGeom prst="snip2DiagRect">
            <a:avLst>
              <a:gd name="adj1" fmla="val 15395"/>
              <a:gd name="adj2" fmla="val 0"/>
            </a:avLst>
          </a:prstGeom>
          <a:solidFill>
            <a:schemeClr val="accent4">
              <a:alpha val="90000"/>
            </a:schemeClr>
          </a:solidFill>
        </p:spPr>
        <p:txBody>
          <a:bodyPr lIns="90000" tIns="36000" rIns="0" bIns="576000"/>
          <a:lstStyle>
            <a:lvl1pPr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67" b="1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867">
                <a:solidFill>
                  <a:schemeClr val="bg1"/>
                </a:solidFill>
              </a:defRPr>
            </a:lvl2pPr>
            <a:lvl3pPr mar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defRPr sz="1867">
                <a:solidFill>
                  <a:schemeClr val="bg1"/>
                </a:solidFill>
              </a:defRPr>
            </a:lvl3pPr>
            <a:lvl4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4pPr>
            <a:lvl5pPr algn="ctr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tem 4</a:t>
            </a:r>
          </a:p>
          <a:p>
            <a:pPr lvl="1"/>
            <a:r>
              <a:rPr lang="en-US" dirty="0"/>
              <a:t>Lorem ipsum</a:t>
            </a:r>
          </a:p>
          <a:p>
            <a:pPr lvl="2"/>
            <a:r>
              <a:rPr lang="en-US" dirty="0"/>
              <a:t>Dolor sit </a:t>
            </a:r>
            <a:r>
              <a:rPr lang="en-US" dirty="0" err="1"/>
              <a:t>amet</a:t>
            </a:r>
            <a:endParaRPr lang="en-US" dirty="0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3" hasCustomPrompt="1"/>
          </p:nvPr>
        </p:nvSpPr>
        <p:spPr bwMode="gray">
          <a:xfrm>
            <a:off x="469899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3498124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0" name="Picture Placeholder 13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526349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Icon</a:t>
            </a:r>
            <a:endParaRPr lang="en-GB" dirty="0"/>
          </a:p>
        </p:txBody>
      </p:sp>
      <p:sp>
        <p:nvSpPr>
          <p:cNvPr id="61" name="Picture Placeholder 13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9554576" y="4590801"/>
            <a:ext cx="720000" cy="720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0" y="-295011"/>
            <a:ext cx="48000" cy="48000"/>
          </a:xfrm>
          <a:custGeom>
            <a:avLst/>
            <a:gdLst>
              <a:gd name="connsiteX0" fmla="*/ 89445 w 360383"/>
              <a:gd name="connsiteY0" fmla="*/ 0 h 360000"/>
              <a:gd name="connsiteX1" fmla="*/ 360383 w 360383"/>
              <a:gd name="connsiteY1" fmla="*/ 0 h 360000"/>
              <a:gd name="connsiteX2" fmla="*/ 360383 w 360383"/>
              <a:gd name="connsiteY2" fmla="*/ 270162 h 360000"/>
              <a:gd name="connsiteX3" fmla="*/ 270938 w 360383"/>
              <a:gd name="connsiteY3" fmla="*/ 360000 h 360000"/>
              <a:gd name="connsiteX4" fmla="*/ 270938 w 360383"/>
              <a:gd name="connsiteY4" fmla="*/ 89189 h 360000"/>
              <a:gd name="connsiteX5" fmla="*/ 0 w 360383"/>
              <a:gd name="connsiteY5" fmla="*/ 89189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0383" h="360000">
                <a:moveTo>
                  <a:pt x="89445" y="0"/>
                </a:moveTo>
                <a:lnTo>
                  <a:pt x="360383" y="0"/>
                </a:lnTo>
                <a:lnTo>
                  <a:pt x="360383" y="270162"/>
                </a:lnTo>
                <a:lnTo>
                  <a:pt x="270938" y="360000"/>
                </a:lnTo>
                <a:lnTo>
                  <a:pt x="270938" y="89189"/>
                </a:lnTo>
                <a:lnTo>
                  <a:pt x="0" y="89189"/>
                </a:lnTo>
                <a:close/>
              </a:path>
            </a:pathLst>
          </a:custGeom>
          <a:noFill/>
        </p:spPr>
        <p:txBody>
          <a:bodyPr wrap="square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  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469899" y="336000"/>
            <a:ext cx="5904000" cy="1194216"/>
          </a:xfrm>
          <a:solidFill>
            <a:schemeClr val="bg1">
              <a:alpha val="90000"/>
            </a:schemeClr>
          </a:solidFill>
        </p:spPr>
        <p:txBody>
          <a:bodyPr wrap="square" lIns="100800" tIns="126000" rIns="100800" bIns="12600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838418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duct bran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983BDD78-F9D1-4F73-87BD-5EEE30374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16"/>
            <a:ext cx="12192000" cy="6860032"/>
          </a:xfrm>
          <a:prstGeom prst="rect">
            <a:avLst/>
          </a:prstGeom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780BEE87-4835-4B9C-867B-245D16C29308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F5FFC98-E819-458E-AD1E-039584C2A3C7}"/>
              </a:ext>
            </a:extLst>
          </p:cNvPr>
          <p:cNvGrpSpPr/>
          <p:nvPr userDrawn="1"/>
        </p:nvGrpSpPr>
        <p:grpSpPr>
          <a:xfrm>
            <a:off x="1648794" y="2072641"/>
            <a:ext cx="6567841" cy="3223884"/>
            <a:chOff x="1236595" y="1554480"/>
            <a:chExt cx="4925881" cy="241791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1BD9814-0800-45B7-A273-C7E6F078BA9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434944" y="3362574"/>
              <a:ext cx="1727532" cy="609819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AE60973-F93F-4148-ACD2-54872AB3A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251585" y="1554480"/>
              <a:ext cx="1642413" cy="1002150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208BEBB-6114-4343-901C-738E6B22F0A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1236595" y="3402712"/>
              <a:ext cx="2421005" cy="305352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9505FDA-B56F-40F5-93F3-77E7259487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460583" y="1626433"/>
              <a:ext cx="2235839" cy="1107848"/>
            </a:xfrm>
            <a:prstGeom prst="rect">
              <a:avLst/>
            </a:prstGeom>
          </p:spPr>
        </p:pic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42374562-0082-45AC-B175-C00C8C0CF8F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0860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7AB9725-E30C-447C-B503-B96C6C7DEDC8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27" name="Group 26"/>
          <p:cNvGrpSpPr/>
          <p:nvPr/>
        </p:nvGrpSpPr>
        <p:grpSpPr bwMode="gray">
          <a:xfrm>
            <a:off x="0" y="6243917"/>
            <a:ext cx="12192000" cy="614084"/>
            <a:chOff x="0" y="4682937"/>
            <a:chExt cx="9144000" cy="460563"/>
          </a:xfrm>
        </p:grpSpPr>
        <p:sp>
          <p:nvSpPr>
            <p:cNvPr id="28" name="Rectangle 27"/>
            <p:cNvSpPr/>
            <p:nvPr/>
          </p:nvSpPr>
          <p:spPr bwMode="gray">
            <a:xfrm>
              <a:off x="0" y="46915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noProof="0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0" y="4682937"/>
              <a:ext cx="9144000" cy="144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30" name="Pentagon 28"/>
          <p:cNvSpPr/>
          <p:nvPr/>
        </p:nvSpPr>
        <p:spPr bwMode="gray">
          <a:xfrm>
            <a:off x="-1" y="6244917"/>
            <a:ext cx="803212" cy="613083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0" rIns="0" bIns="0" rtlCol="0" anchor="ctr" anchorCtr="0"/>
          <a:lstStyle/>
          <a:p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120511" y="6359459"/>
            <a:ext cx="384000" cy="384000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>
            <a:lvl1pPr algn="ctr"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nl-NL"/>
              <a:t>Icon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22"/>
          </p:nvPr>
        </p:nvSpPr>
        <p:spPr bwMode="gray">
          <a:xfrm>
            <a:off x="885017" y="6359459"/>
            <a:ext cx="3264000" cy="384000"/>
          </a:xfrm>
        </p:spPr>
        <p:txBody>
          <a:bodyPr anchor="ctr" anchorCtr="0"/>
          <a:lstStyle>
            <a:lvl1pPr>
              <a:lnSpc>
                <a:spcPct val="100000"/>
              </a:lnSpc>
              <a:spcBef>
                <a:spcPts val="0"/>
              </a:spcBef>
              <a:defRPr sz="1333">
                <a:solidFill>
                  <a:srgbClr val="B7B9BA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en-US" noProof="0"/>
              <a:t>AkzoNobel - Colorimetry training school 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pPr>
              <a:defRPr/>
            </a:pPr>
            <a:fld id="{537E2E77-CED1-4E84-91C2-4E0176ECD4FC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-2188295" y="5656045"/>
            <a:ext cx="2001520" cy="10294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48000" bIns="144000" rtlCol="0" anchor="t" anchorCtr="0">
            <a:sp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Insert Topic Icons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Click on the picture icon and </a:t>
            </a:r>
            <a:r>
              <a:rPr lang="en-US" sz="1200" b="0" i="0" baseline="0">
                <a:solidFill>
                  <a:schemeClr val="tx1"/>
                </a:solidFill>
              </a:rPr>
              <a:t>browse to the location of </a:t>
            </a:r>
            <a:r>
              <a:rPr lang="en-US" sz="1200" b="0" baseline="0">
                <a:solidFill>
                  <a:schemeClr val="tx1"/>
                </a:solidFill>
              </a:rPr>
              <a:t>the Topic Icons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97F0165-08AF-4404-B9FD-41440F612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25FEB14-E214-46B8-AAF4-66E35457D767}"/>
              </a:ext>
            </a:extLst>
          </p:cNvPr>
          <p:cNvGrpSpPr/>
          <p:nvPr userDrawn="1"/>
        </p:nvGrpSpPr>
        <p:grpSpPr>
          <a:xfrm>
            <a:off x="-2228850" y="338777"/>
            <a:ext cx="2042076" cy="840732"/>
            <a:chOff x="-1671638" y="254082"/>
            <a:chExt cx="1531557" cy="630549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EE28855A-4571-482D-967E-D1942BCC416B}"/>
                </a:ext>
              </a:extLst>
            </p:cNvPr>
            <p:cNvCxnSpPr/>
            <p:nvPr/>
          </p:nvCxnSpPr>
          <p:spPr bwMode="gray">
            <a:xfrm>
              <a:off x="-1671638" y="884631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EDDB3EC-DF75-4936-A4FF-FEE6D0EF6254}"/>
                </a:ext>
              </a:extLst>
            </p:cNvPr>
            <p:cNvCxnSpPr/>
            <p:nvPr/>
          </p:nvCxnSpPr>
          <p:spPr bwMode="gray">
            <a:xfrm>
              <a:off x="-1671638" y="254084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EF65836-C317-4D95-898B-D3A980135543}"/>
                </a:ext>
              </a:extLst>
            </p:cNvPr>
            <p:cNvSpPr/>
            <p:nvPr userDrawn="1"/>
          </p:nvSpPr>
          <p:spPr bwMode="gray">
            <a:xfrm>
              <a:off x="-1671638" y="254082"/>
              <a:ext cx="1531557" cy="63054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Title area</a:t>
              </a:r>
            </a:p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max over 2 lines</a:t>
              </a:r>
            </a:p>
          </p:txBody>
        </p:sp>
      </p:grpSp>
      <p:pic>
        <p:nvPicPr>
          <p:cNvPr id="22" name="Picture 21">
            <a:extLst>
              <a:ext uri="{FF2B5EF4-FFF2-40B4-BE49-F238E27FC236}">
                <a16:creationId xmlns:a16="http://schemas.microsoft.com/office/drawing/2014/main" id="{EAC6E919-D1AF-4829-85B8-6757F1D6C3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073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D25E1AAA-C40A-4632-8FC4-062951A43D02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15" name="Group 33"/>
          <p:cNvGrpSpPr>
            <a:grpSpLocks noChangeAspect="1"/>
          </p:cNvGrpSpPr>
          <p:nvPr/>
        </p:nvGrpSpPr>
        <p:grpSpPr bwMode="gray">
          <a:xfrm>
            <a:off x="9349887" y="315284"/>
            <a:ext cx="2372213" cy="345600"/>
            <a:chOff x="1430338" y="-1666875"/>
            <a:chExt cx="4968876" cy="723900"/>
          </a:xfrm>
          <a:solidFill>
            <a:srgbClr val="FFFFFF"/>
          </a:solidFill>
        </p:grpSpPr>
        <p:sp>
          <p:nvSpPr>
            <p:cNvPr id="19" name="Freeform 18"/>
            <p:cNvSpPr>
              <a:spLocks/>
            </p:cNvSpPr>
            <p:nvPr/>
          </p:nvSpPr>
          <p:spPr bwMode="gray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0" name="Freeform 25"/>
            <p:cNvSpPr>
              <a:spLocks/>
            </p:cNvSpPr>
            <p:nvPr/>
          </p:nvSpPr>
          <p:spPr bwMode="gray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1" name="Freeform 26"/>
            <p:cNvSpPr>
              <a:spLocks/>
            </p:cNvSpPr>
            <p:nvPr/>
          </p:nvSpPr>
          <p:spPr bwMode="gray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2" name="Freeform 27"/>
            <p:cNvSpPr>
              <a:spLocks noEditPoints="1"/>
            </p:cNvSpPr>
            <p:nvPr/>
          </p:nvSpPr>
          <p:spPr bwMode="gray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3" name="Freeform 28"/>
            <p:cNvSpPr>
              <a:spLocks noEditPoints="1"/>
            </p:cNvSpPr>
            <p:nvPr/>
          </p:nvSpPr>
          <p:spPr bwMode="gray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4" name="Freeform 29"/>
            <p:cNvSpPr>
              <a:spLocks/>
            </p:cNvSpPr>
            <p:nvPr/>
          </p:nvSpPr>
          <p:spPr bwMode="gray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5" name="Freeform 30"/>
            <p:cNvSpPr>
              <a:spLocks noEditPoints="1"/>
            </p:cNvSpPr>
            <p:nvPr/>
          </p:nvSpPr>
          <p:spPr bwMode="gray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6" name="Freeform 31"/>
            <p:cNvSpPr>
              <a:spLocks noEditPoints="1"/>
            </p:cNvSpPr>
            <p:nvPr/>
          </p:nvSpPr>
          <p:spPr bwMode="gray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7" name="Freeform 32"/>
            <p:cNvSpPr>
              <a:spLocks noEditPoints="1"/>
            </p:cNvSpPr>
            <p:nvPr/>
          </p:nvSpPr>
          <p:spPr bwMode="gray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gray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sp>
        <p:nvSpPr>
          <p:cNvPr id="16" name="Rectangle 15"/>
          <p:cNvSpPr/>
          <p:nvPr/>
        </p:nvSpPr>
        <p:spPr bwMode="gray">
          <a:xfrm>
            <a:off x="12385040" y="243579"/>
            <a:ext cx="2001520" cy="176814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>
            <a:no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Supported format for the</a:t>
            </a:r>
            <a:r>
              <a:rPr lang="en-US" sz="1200" b="1" baseline="0">
                <a:solidFill>
                  <a:schemeClr val="tx1"/>
                </a:solidFill>
              </a:rPr>
              <a:t> Windows platform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1200" b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MP4</a:t>
            </a:r>
            <a:r>
              <a:rPr lang="en-US" sz="12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1200" b="0" baseline="0">
                <a:solidFill>
                  <a:schemeClr val="tx1"/>
                </a:solidFill>
              </a:rPr>
              <a:t>QT Player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18" name="Media Placeholder 17">
            <a:extLst>
              <a:ext uri="{FF2B5EF4-FFF2-40B4-BE49-F238E27FC236}">
                <a16:creationId xmlns:a16="http://schemas.microsoft.com/office/drawing/2014/main" id="{B7B02E2F-78D5-4E30-B751-15176ACA16DE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" y="-1200"/>
            <a:ext cx="12191999" cy="6859200"/>
          </a:xfrm>
          <a:prstGeom prst="rect">
            <a:avLst/>
          </a:prstGeom>
          <a:solidFill>
            <a:schemeClr val="tx1"/>
          </a:solidFill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Movie </a:t>
            </a:r>
          </a:p>
          <a:p>
            <a:r>
              <a:rPr lang="en-US" dirty="0"/>
              <a:t>(in WMV format for Windows platform)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0FD17422-CBAC-4C3D-8D82-972F7F972DC1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9351433" y="314921"/>
            <a:ext cx="2376000" cy="34737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19152219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blu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B7638C14-9F90-4D41-8679-C0126FB6177D}"/>
              </a:ext>
            </a:extLst>
          </p:cNvPr>
          <p:cNvGrpSpPr/>
          <p:nvPr userDrawn="1"/>
        </p:nvGrpSpPr>
        <p:grpSpPr>
          <a:xfrm>
            <a:off x="1" y="-1200"/>
            <a:ext cx="12191999" cy="6859200"/>
            <a:chOff x="0" y="-900"/>
            <a:chExt cx="9143999" cy="51444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4BB892A-DD27-4AF9-9505-BDAA1BD47A65}"/>
                </a:ext>
              </a:extLst>
            </p:cNvPr>
            <p:cNvSpPr/>
            <p:nvPr userDrawn="1"/>
          </p:nvSpPr>
          <p:spPr>
            <a:xfrm>
              <a:off x="7013813" y="-900"/>
              <a:ext cx="1782000" cy="5144400"/>
            </a:xfrm>
            <a:prstGeom prst="rect">
              <a:avLst/>
            </a:prstGeom>
            <a:gradFill flip="none" rotWithShape="1">
              <a:gsLst>
                <a:gs pos="0">
                  <a:srgbClr val="005192"/>
                </a:gs>
                <a:gs pos="100000">
                  <a:srgbClr val="008BC5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A4506E1-8F44-471B-9A1A-DDABA454F049}"/>
                </a:ext>
              </a:extLst>
            </p:cNvPr>
            <p:cNvSpPr/>
            <p:nvPr userDrawn="1"/>
          </p:nvSpPr>
          <p:spPr>
            <a:xfrm>
              <a:off x="0" y="-900"/>
              <a:ext cx="7013813" cy="5144400"/>
            </a:xfrm>
            <a:prstGeom prst="rect">
              <a:avLst/>
            </a:prstGeom>
            <a:solidFill>
              <a:srgbClr val="00519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24C5D3A-5249-4802-82FC-B88E0C727FCB}"/>
                </a:ext>
              </a:extLst>
            </p:cNvPr>
            <p:cNvSpPr/>
            <p:nvPr userDrawn="1"/>
          </p:nvSpPr>
          <p:spPr>
            <a:xfrm>
              <a:off x="8795812" y="-900"/>
              <a:ext cx="348187" cy="5144400"/>
            </a:xfrm>
            <a:prstGeom prst="rect">
              <a:avLst/>
            </a:prstGeom>
            <a:solidFill>
              <a:srgbClr val="008B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sz="2400" dirty="0" err="1"/>
            </a:p>
          </p:txBody>
        </p:sp>
      </p:grp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0C80CFD0-7C46-4237-B059-79BE7CA1024E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9625CAEF-7F4C-46C1-8A48-672F893B665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 bwMode="gray">
          <a:xfrm>
            <a:off x="2" y="-600"/>
            <a:ext cx="12191999" cy="685920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>
            <a:lvl1pPr marL="0" marR="0" indent="0" algn="ctr" defTabSz="1219170" rtl="0" eaLnBrk="1" fontAlgn="auto" latinLnBrk="0" hangingPunct="1">
              <a:lnSpc>
                <a:spcPts val="1867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60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Movie </a:t>
            </a:r>
          </a:p>
          <a:p>
            <a:r>
              <a:rPr lang="en-US" dirty="0"/>
              <a:t>(in WMV format for Windows platform)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6" name="Rectangle 25"/>
          <p:cNvSpPr/>
          <p:nvPr/>
        </p:nvSpPr>
        <p:spPr bwMode="gray">
          <a:xfrm>
            <a:off x="12385040" y="243579"/>
            <a:ext cx="2001520" cy="1768140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t" anchorCtr="0">
            <a:noAutofit/>
          </a:bodyPr>
          <a:lstStyle/>
          <a:p>
            <a:pPr algn="l"/>
            <a:r>
              <a:rPr lang="en-US" sz="1200" b="1">
                <a:solidFill>
                  <a:schemeClr val="tx1"/>
                </a:solidFill>
              </a:rPr>
              <a:t>Supported format for the</a:t>
            </a:r>
            <a:r>
              <a:rPr lang="en-US" sz="1200" b="1" baseline="0">
                <a:solidFill>
                  <a:schemeClr val="tx1"/>
                </a:solidFill>
              </a:rPr>
              <a:t> Windows platform</a:t>
            </a:r>
            <a:endParaRPr lang="en-US" sz="1200" b="1" dirty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• WMV</a:t>
            </a:r>
          </a:p>
          <a:p>
            <a: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>
                <a:solidFill>
                  <a:schemeClr val="tx1"/>
                </a:solidFill>
              </a:rPr>
              <a:t>• MPG</a:t>
            </a:r>
          </a:p>
          <a:p>
            <a:pPr algn="l"/>
            <a:endParaRPr lang="en-US" sz="1200" b="0">
              <a:solidFill>
                <a:schemeClr val="tx1"/>
              </a:solidFill>
            </a:endParaRPr>
          </a:p>
          <a:p>
            <a:pPr algn="l"/>
            <a:r>
              <a:rPr lang="en-US" sz="1200" b="0">
                <a:solidFill>
                  <a:schemeClr val="tx1"/>
                </a:solidFill>
              </a:rPr>
              <a:t>MP4</a:t>
            </a:r>
            <a:r>
              <a:rPr lang="en-US" sz="1200" b="0" baseline="0">
                <a:solidFill>
                  <a:schemeClr val="tx1"/>
                </a:solidFill>
              </a:rPr>
              <a:t> not (yet) fully supported without </a:t>
            </a:r>
          </a:p>
          <a:p>
            <a:pPr algn="l"/>
            <a:r>
              <a:rPr lang="en-US" sz="1200" b="0" baseline="0">
                <a:solidFill>
                  <a:schemeClr val="tx1"/>
                </a:solidFill>
              </a:rPr>
              <a:t>QT Player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2A36365-C340-4B2C-A3E0-87591690B3EB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9351433" y="314921"/>
            <a:ext cx="2376000" cy="347371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42865808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 Slide Option 2">
    <p:bg bwMode="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30" name="Object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 userDrawn="1"/>
        </p:nvSpPr>
        <p:spPr bwMode="white">
          <a:xfrm>
            <a:off x="0" y="1432800"/>
            <a:ext cx="12192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+mj-lt"/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6398813"/>
            <a:ext cx="12192000" cy="459187"/>
            <a:chOff x="0" y="6398814"/>
            <a:chExt cx="9144000" cy="459186"/>
          </a:xfrm>
        </p:grpSpPr>
        <p:sp>
          <p:nvSpPr>
            <p:cNvPr id="24" name="Rectangle 2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noProof="0"/>
            </a:p>
          </p:txBody>
        </p:sp>
        <p:sp>
          <p:nvSpPr>
            <p:cNvPr id="25" name="Rectangle 24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nr.›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kzoNobel - Colorimetry training school 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80000" y="1600145"/>
            <a:ext cx="5520000" cy="4608569"/>
          </a:xfrm>
        </p:spPr>
        <p:txBody>
          <a:bodyPr/>
          <a:lstStyle>
            <a:lvl1pPr marL="449989" indent="-449989">
              <a:lnSpc>
                <a:spcPct val="100000"/>
              </a:lnSpc>
              <a:spcBef>
                <a:spcPts val="800"/>
              </a:spcBef>
              <a:buClrTx/>
              <a:buFont typeface="+mj-lt"/>
              <a:buAutoNum type="arabicPeriod"/>
              <a:defRPr b="1">
                <a:solidFill>
                  <a:schemeClr val="accent1"/>
                </a:solidFill>
              </a:defRPr>
            </a:lvl1pPr>
            <a:lvl2pPr marL="449251" indent="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+mj-lt"/>
              <a:buNone/>
              <a:defRPr sz="1600" b="0">
                <a:solidFill>
                  <a:schemeClr val="accent1"/>
                </a:solidFill>
              </a:defRPr>
            </a:lvl2pPr>
            <a:lvl3pPr marL="522887" indent="-342891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33" indent="-342891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878" indent="-342891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92000" y="1600145"/>
            <a:ext cx="5520000" cy="4608569"/>
          </a:xfrm>
        </p:spPr>
        <p:txBody>
          <a:bodyPr/>
          <a:lstStyle>
            <a:lvl1pPr marL="449989" indent="-449989">
              <a:lnSpc>
                <a:spcPct val="100000"/>
              </a:lnSpc>
              <a:spcBef>
                <a:spcPts val="800"/>
              </a:spcBef>
              <a:buClrTx/>
              <a:buFont typeface="+mj-lt"/>
              <a:buAutoNum type="arabicPeriod" startAt="7"/>
              <a:defRPr b="1">
                <a:solidFill>
                  <a:schemeClr val="accent1"/>
                </a:solidFill>
              </a:defRPr>
            </a:lvl1pPr>
            <a:lvl2pPr marL="449251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+mj-lt"/>
              <a:buNone/>
              <a:defRPr sz="1600" b="0">
                <a:solidFill>
                  <a:schemeClr val="accent1"/>
                </a:solidFill>
              </a:defRPr>
            </a:lvl2pPr>
            <a:lvl3pPr marL="522887" indent="-342891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33" indent="-342891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878" indent="-342891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1" name="Group 33"/>
          <p:cNvGrpSpPr>
            <a:grpSpLocks noChangeAspect="1"/>
          </p:cNvGrpSpPr>
          <p:nvPr userDrawn="1"/>
        </p:nvGrpSpPr>
        <p:grpSpPr bwMode="white">
          <a:xfrm>
            <a:off x="9354120" y="372869"/>
            <a:ext cx="2372213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6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4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4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480000" y="6500911"/>
            <a:ext cx="5527168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0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Click to edit Source text styles Arial Regular 8pt</a:t>
            </a:r>
          </a:p>
        </p:txBody>
      </p:sp>
    </p:spTree>
    <p:extLst>
      <p:ext uri="{BB962C8B-B14F-4D97-AF65-F5344CB8AC3E}">
        <p14:creationId xmlns:p14="http://schemas.microsoft.com/office/powerpoint/2010/main" val="36028389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">
    <p:bg bwMode="gray"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32" name="Object 3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76976" y="1636183"/>
            <a:ext cx="11235024" cy="4416000"/>
          </a:xfrm>
        </p:spPr>
        <p:txBody>
          <a:bodyPr/>
          <a:lstStyle>
            <a:lvl1pPr marL="239994" indent="-239994">
              <a:spcBef>
                <a:spcPts val="0"/>
              </a:spcBef>
              <a:spcAft>
                <a:spcPts val="2400"/>
              </a:spcAft>
              <a:buClrTx/>
              <a:buFont typeface="Arial" pitchFamily="34" charset="0"/>
              <a:buChar char="•"/>
              <a:defRPr b="0">
                <a:solidFill>
                  <a:schemeClr val="tx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4" name="Slide Number Placeholder 8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nr.›</a:t>
            </a:fld>
            <a:endParaRPr lang="en-US" noProof="0"/>
          </a:p>
        </p:txBody>
      </p:sp>
      <p:sp>
        <p:nvSpPr>
          <p:cNvPr id="85" name="Footer Placeholder 8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GMM 2018 Color Solutions</a:t>
            </a:r>
            <a:endParaRPr lang="en-US" noProof="0" dirty="0"/>
          </a:p>
        </p:txBody>
      </p:sp>
      <p:sp>
        <p:nvSpPr>
          <p:cNvPr id="9" name="Title 52">
            <a:extLst>
              <a:ext uri="{FF2B5EF4-FFF2-40B4-BE49-F238E27FC236}">
                <a16:creationId xmlns:a16="http://schemas.microsoft.com/office/drawing/2014/main" id="{F69FD6A2-8303-C743-B622-C8509FA2E2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33031" y="550267"/>
            <a:ext cx="7811255" cy="960000"/>
          </a:xfrm>
          <a:effectLst/>
        </p:spPr>
        <p:txBody>
          <a:bodyPr anchor="t" anchorCtr="0"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18181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535DF3-91B6-4DA1-8887-F84EB1641B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A91E2F2-CE77-4A7B-81B6-C5BE61E203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3EA11E29-FB31-4F8B-B9BD-CA6483F942C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108205EA-D0BB-4C54-831F-4487EDA23E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F32D3089-BF8D-4485-8766-F658AFA086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75F89245-C8B8-42F5-8FEF-BC5540CC78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51201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0DB068E-070A-429D-8329-E581405DC2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F150D627-82E3-46C2-8101-E2F89BB30A5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3613A6E-E246-4AE1-8C95-57926BFCB5C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7AAFB2A5-1A65-4FB3-B0E7-EA8A69433F2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42DD9D37-8903-4244-A58D-E6953C5FC3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F0D5B644-65C9-468F-9EDF-C0C2B373AE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03B12ABF-EB7F-4912-A227-96EC6B246F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5CD78329-050B-4A1F-82EF-00D615C23A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14559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C82B53-58A5-4A26-906D-5D10E76457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F6FF78D-1105-40B6-BE9D-E11892BE58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69C0230-1ACD-4D82-A0AF-4BA386D664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3F44DAA4-572F-43B7-9A21-1F70F4DBD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32341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ED06F8A1-28EA-4297-866B-7D302C9D4C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51B4B53C-987D-4242-AD8C-05F9360605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8C729D4-D476-4C80-B957-9CC259F71B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051635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EFDC757-5DA7-4255-AF11-BFA6AE20A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4424515-B719-41D4-9937-D4CCBF682BC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4AC95D2-989A-46F5-9FE3-F4114F35682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99897CED-2DC2-4625-B6C7-95C8D87DE7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16299FE-E5D7-40B3-B09D-67E98E486E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4B82C12-E6D1-4DDB-A5A8-391CB697C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483279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C63370-F5F1-41BE-B384-01746E534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EB37FD07-041D-4BBD-9A53-C3DE75E7626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E97EAF69-B667-44AD-ABF1-4BC7750F12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2497F31-AEBF-4DA3-BA5C-49BC8AE37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5AA90DD0-7CEF-43B8-9E9A-EC76E5EAC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84C76B0-2A8D-4E79-8DC3-44259BFCBD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56250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C6EF3C9F-62C5-4918-9740-A9EC0A6143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1C652D3-43FE-4081-B860-2405AFAC01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9C7708A-5B0C-48BB-B301-7E9B402541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63298F5-2CBF-46A2-A268-97AFB63B9D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24F3F19-03FD-4F54-AB49-6A34CEE640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22079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43E678-8B44-44DE-AC8D-8D3F3C0CF5BB}" type="datetimeFigureOut">
              <a:rPr lang="nl-NL" smtClean="0"/>
              <a:t>09-10-2022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8BF2F1-E1F9-454D-BD3F-0C74D1288285}" type="slidenum">
              <a:rPr lang="nl-NL" smtClean="0"/>
              <a:t>‹nr.›</a:t>
            </a:fld>
            <a:endParaRPr lang="nl-NL"/>
          </a:p>
        </p:txBody>
      </p:sp>
      <p:sp>
        <p:nvSpPr>
          <p:cNvPr id="7" name="Freeform: Shape 36">
            <a:extLst>
              <a:ext uri="{FF2B5EF4-FFF2-40B4-BE49-F238E27FC236}">
                <a16:creationId xmlns:a16="http://schemas.microsoft.com/office/drawing/2014/main" id="{410A2CB5-E3C0-458F-AECB-D45C116B99A0}"/>
              </a:ext>
            </a:extLst>
          </p:cNvPr>
          <p:cNvSpPr/>
          <p:nvPr userDrawn="1"/>
        </p:nvSpPr>
        <p:spPr>
          <a:xfrm>
            <a:off x="-2404535" y="-2421467"/>
            <a:ext cx="17001067" cy="11700933"/>
          </a:xfrm>
          <a:custGeom>
            <a:avLst/>
            <a:gdLst>
              <a:gd name="connsiteX0" fmla="*/ 0 w 12750800"/>
              <a:gd name="connsiteY0" fmla="*/ 0 h 5143500"/>
              <a:gd name="connsiteX1" fmla="*/ 1803400 w 12750800"/>
              <a:gd name="connsiteY1" fmla="*/ 0 h 5143500"/>
              <a:gd name="connsiteX2" fmla="*/ 1803400 w 12750800"/>
              <a:gd name="connsiteY2" fmla="*/ 0 h 5143500"/>
              <a:gd name="connsiteX3" fmla="*/ 10947400 w 12750800"/>
              <a:gd name="connsiteY3" fmla="*/ 0 h 5143500"/>
              <a:gd name="connsiteX4" fmla="*/ 11760199 w 12750800"/>
              <a:gd name="connsiteY4" fmla="*/ 0 h 5143500"/>
              <a:gd name="connsiteX5" fmla="*/ 12750800 w 12750800"/>
              <a:gd name="connsiteY5" fmla="*/ 0 h 5143500"/>
              <a:gd name="connsiteX6" fmla="*/ 12750800 w 12750800"/>
              <a:gd name="connsiteY6" fmla="*/ 5143500 h 5143500"/>
              <a:gd name="connsiteX7" fmla="*/ 11760199 w 12750800"/>
              <a:gd name="connsiteY7" fmla="*/ 5143500 h 5143500"/>
              <a:gd name="connsiteX8" fmla="*/ 10947400 w 12750800"/>
              <a:gd name="connsiteY8" fmla="*/ 5143500 h 5143500"/>
              <a:gd name="connsiteX9" fmla="*/ 1803400 w 12750800"/>
              <a:gd name="connsiteY9" fmla="*/ 5143500 h 5143500"/>
              <a:gd name="connsiteX10" fmla="*/ 1515250 w 12750800"/>
              <a:gd name="connsiteY10" fmla="*/ 5143500 h 5143500"/>
              <a:gd name="connsiteX11" fmla="*/ 0 w 12750800"/>
              <a:gd name="connsiteY11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750800" h="5143500">
                <a:moveTo>
                  <a:pt x="0" y="0"/>
                </a:moveTo>
                <a:lnTo>
                  <a:pt x="1803400" y="0"/>
                </a:lnTo>
                <a:lnTo>
                  <a:pt x="1803400" y="0"/>
                </a:lnTo>
                <a:lnTo>
                  <a:pt x="10947400" y="0"/>
                </a:lnTo>
                <a:lnTo>
                  <a:pt x="11760199" y="0"/>
                </a:lnTo>
                <a:lnTo>
                  <a:pt x="12750800" y="0"/>
                </a:lnTo>
                <a:lnTo>
                  <a:pt x="12750800" y="5143500"/>
                </a:lnTo>
                <a:lnTo>
                  <a:pt x="11760199" y="5143500"/>
                </a:lnTo>
                <a:lnTo>
                  <a:pt x="10947400" y="5143500"/>
                </a:lnTo>
                <a:lnTo>
                  <a:pt x="1803400" y="5143500"/>
                </a:lnTo>
                <a:lnTo>
                  <a:pt x="1515250" y="5143500"/>
                </a:lnTo>
                <a:lnTo>
                  <a:pt x="0" y="514350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/>
            <a:endParaRPr lang="en-US" sz="2400" dirty="0" err="1"/>
          </a:p>
        </p:txBody>
      </p:sp>
      <p:grpSp>
        <p:nvGrpSpPr>
          <p:cNvPr id="8" name="Group 20">
            <a:extLst>
              <a:ext uri="{FF2B5EF4-FFF2-40B4-BE49-F238E27FC236}">
                <a16:creationId xmlns:a16="http://schemas.microsoft.com/office/drawing/2014/main" id="{197174A0-3024-475A-843A-C236B8945484}"/>
              </a:ext>
            </a:extLst>
          </p:cNvPr>
          <p:cNvGrpSpPr/>
          <p:nvPr userDrawn="1"/>
        </p:nvGrpSpPr>
        <p:grpSpPr>
          <a:xfrm>
            <a:off x="-2228850" y="338777"/>
            <a:ext cx="2042076" cy="840732"/>
            <a:chOff x="-1671638" y="254082"/>
            <a:chExt cx="1531557" cy="630549"/>
          </a:xfrm>
        </p:grpSpPr>
        <p:cxnSp>
          <p:nvCxnSpPr>
            <p:cNvPr id="9" name="Straight Connector 21">
              <a:extLst>
                <a:ext uri="{FF2B5EF4-FFF2-40B4-BE49-F238E27FC236}">
                  <a16:creationId xmlns:a16="http://schemas.microsoft.com/office/drawing/2014/main" id="{807AEDFE-6D6E-4DCD-95AE-9EB869F56D37}"/>
                </a:ext>
              </a:extLst>
            </p:cNvPr>
            <p:cNvCxnSpPr/>
            <p:nvPr/>
          </p:nvCxnSpPr>
          <p:spPr bwMode="gray">
            <a:xfrm>
              <a:off x="-1671638" y="884631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23">
              <a:extLst>
                <a:ext uri="{FF2B5EF4-FFF2-40B4-BE49-F238E27FC236}">
                  <a16:creationId xmlns:a16="http://schemas.microsoft.com/office/drawing/2014/main" id="{82ADE8EF-460B-4494-9B96-25366E12FE76}"/>
                </a:ext>
              </a:extLst>
            </p:cNvPr>
            <p:cNvCxnSpPr/>
            <p:nvPr/>
          </p:nvCxnSpPr>
          <p:spPr bwMode="gray">
            <a:xfrm>
              <a:off x="-1671638" y="254084"/>
              <a:ext cx="1531557" cy="0"/>
            </a:xfrm>
            <a:prstGeom prst="line">
              <a:avLst/>
            </a:prstGeom>
            <a:ln w="6350">
              <a:solidFill>
                <a:srgbClr val="E431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Rectangle 24">
              <a:extLst>
                <a:ext uri="{FF2B5EF4-FFF2-40B4-BE49-F238E27FC236}">
                  <a16:creationId xmlns:a16="http://schemas.microsoft.com/office/drawing/2014/main" id="{BFD9244C-2A41-4A05-BD74-DBD5EEDFD0F3}"/>
                </a:ext>
              </a:extLst>
            </p:cNvPr>
            <p:cNvSpPr/>
            <p:nvPr userDrawn="1"/>
          </p:nvSpPr>
          <p:spPr bwMode="gray">
            <a:xfrm>
              <a:off x="-1671638" y="254082"/>
              <a:ext cx="1531557" cy="630547"/>
            </a:xfrm>
            <a:prstGeom prst="rect">
              <a:avLst/>
            </a:prstGeom>
            <a:solidFill>
              <a:schemeClr val="bg2">
                <a:lumMod val="60000"/>
                <a:lumOff val="40000"/>
                <a:alpha val="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54000" rIns="108000" bIns="54000" rtlCol="0" anchor="b" anchorCtr="0">
              <a:noAutofit/>
            </a:bodyPr>
            <a:lstStyle/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Title area</a:t>
              </a:r>
            </a:p>
            <a:p>
              <a:pPr algn="l"/>
              <a:r>
                <a:rPr lang="en-US" sz="1333" b="0" dirty="0">
                  <a:solidFill>
                    <a:schemeClr val="tx1"/>
                  </a:solidFill>
                </a:rPr>
                <a:t>max over 2 lines</a:t>
              </a:r>
            </a:p>
          </p:txBody>
        </p:sp>
      </p:grpSp>
      <p:sp>
        <p:nvSpPr>
          <p:cNvPr id="12" name="Rectangle 28">
            <a:extLst>
              <a:ext uri="{FF2B5EF4-FFF2-40B4-BE49-F238E27FC236}">
                <a16:creationId xmlns:a16="http://schemas.microsoft.com/office/drawing/2014/main" id="{4C9011BA-2E5B-46D8-B55C-C1EB58D76A37}"/>
              </a:ext>
            </a:extLst>
          </p:cNvPr>
          <p:cNvSpPr/>
          <p:nvPr userDrawn="1"/>
        </p:nvSpPr>
        <p:spPr bwMode="gray">
          <a:xfrm>
            <a:off x="-2228850" y="5656045"/>
            <a:ext cx="2042076" cy="1029476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48000" bIns="144000" rtlCol="0" anchor="t" anchorCtr="0">
            <a:spAutoFit/>
          </a:bodyPr>
          <a:lstStyle/>
          <a:p>
            <a:pPr algn="l"/>
            <a:r>
              <a:rPr lang="en-US" sz="1200" b="1" dirty="0">
                <a:solidFill>
                  <a:schemeClr val="tx1"/>
                </a:solidFill>
              </a:rPr>
              <a:t>Insert Topic Icons</a:t>
            </a:r>
          </a:p>
          <a:p>
            <a:pPr algn="l"/>
            <a:r>
              <a:rPr lang="en-US" sz="1200" b="0" dirty="0">
                <a:solidFill>
                  <a:schemeClr val="tx1"/>
                </a:solidFill>
              </a:rPr>
              <a:t>Click on the picture icon and </a:t>
            </a:r>
            <a:r>
              <a:rPr lang="en-US" sz="1200" b="0" i="0" baseline="0" dirty="0">
                <a:solidFill>
                  <a:schemeClr val="tx1"/>
                </a:solidFill>
              </a:rPr>
              <a:t>browse to the location of </a:t>
            </a:r>
            <a:r>
              <a:rPr lang="en-US" sz="1200" b="0" baseline="0" dirty="0">
                <a:solidFill>
                  <a:schemeClr val="tx1"/>
                </a:solidFill>
              </a:rPr>
              <a:t>the Topic Icons</a:t>
            </a:r>
            <a:endParaRPr lang="en-US" sz="1200" b="0" dirty="0">
              <a:solidFill>
                <a:schemeClr val="tx1"/>
              </a:solidFill>
            </a:endParaRPr>
          </a:p>
        </p:txBody>
      </p:sp>
      <p:sp>
        <p:nvSpPr>
          <p:cNvPr id="13" name="Rectangle 31">
            <a:extLst>
              <a:ext uri="{FF2B5EF4-FFF2-40B4-BE49-F238E27FC236}">
                <a16:creationId xmlns:a16="http://schemas.microsoft.com/office/drawing/2014/main" id="{A9959907-D325-4515-8460-37109EB0788B}"/>
              </a:ext>
            </a:extLst>
          </p:cNvPr>
          <p:cNvSpPr/>
          <p:nvPr userDrawn="1"/>
        </p:nvSpPr>
        <p:spPr bwMode="gray">
          <a:xfrm>
            <a:off x="-2228850" y="1874017"/>
            <a:ext cx="2042076" cy="2403324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0" bIns="144000" rtlCol="0" anchor="b" anchorCtr="0">
            <a:noAutofit/>
          </a:bodyPr>
          <a:lstStyle/>
          <a:p>
            <a:pPr algn="l"/>
            <a:r>
              <a:rPr lang="en-US" sz="1200" b="1" dirty="0">
                <a:solidFill>
                  <a:schemeClr val="tx1"/>
                </a:solidFill>
              </a:rPr>
              <a:t>AkzoNobel Bullets</a:t>
            </a:r>
          </a:p>
          <a:p>
            <a:pPr algn="l"/>
            <a:r>
              <a:rPr lang="en-US" sz="1200" b="0" dirty="0">
                <a:solidFill>
                  <a:schemeClr val="tx1"/>
                </a:solidFill>
              </a:rPr>
              <a:t>Only use the </a:t>
            </a:r>
            <a:r>
              <a:rPr lang="en-US" sz="1200" b="0" u="sng" dirty="0">
                <a:solidFill>
                  <a:schemeClr val="tx1"/>
                </a:solidFill>
              </a:rPr>
              <a:t>List Level buttons</a:t>
            </a:r>
            <a:r>
              <a:rPr lang="en-US" sz="1200" b="0" dirty="0">
                <a:solidFill>
                  <a:schemeClr val="tx1"/>
                </a:solidFill>
              </a:rPr>
              <a:t> to apply the</a:t>
            </a:r>
            <a:r>
              <a:rPr lang="en-US" sz="1200" b="0" baseline="0" dirty="0">
                <a:solidFill>
                  <a:schemeClr val="tx1"/>
                </a:solidFill>
              </a:rPr>
              <a:t> </a:t>
            </a:r>
            <a:r>
              <a:rPr lang="en-US" sz="1200" b="0" i="0" u="none" baseline="0" dirty="0">
                <a:solidFill>
                  <a:schemeClr val="tx1"/>
                </a:solidFill>
              </a:rPr>
              <a:t>AkzoNobel Branded Bullets</a:t>
            </a:r>
            <a:endParaRPr lang="en-US" sz="1200" b="0" i="0" u="none" dirty="0">
              <a:solidFill>
                <a:schemeClr val="tx1"/>
              </a:solidFill>
            </a:endParaRPr>
          </a:p>
        </p:txBody>
      </p:sp>
      <p:grpSp>
        <p:nvGrpSpPr>
          <p:cNvPr id="14" name="Group 33">
            <a:extLst>
              <a:ext uri="{FF2B5EF4-FFF2-40B4-BE49-F238E27FC236}">
                <a16:creationId xmlns:a16="http://schemas.microsoft.com/office/drawing/2014/main" id="{AE269951-6D51-4ED6-B96C-0B3772FB0F99}"/>
              </a:ext>
            </a:extLst>
          </p:cNvPr>
          <p:cNvGrpSpPr/>
          <p:nvPr userDrawn="1"/>
        </p:nvGrpSpPr>
        <p:grpSpPr>
          <a:xfrm>
            <a:off x="-2097938" y="2041937"/>
            <a:ext cx="1780249" cy="1060035"/>
            <a:chOff x="-1573454" y="1531453"/>
            <a:chExt cx="1335187" cy="795026"/>
          </a:xfrm>
        </p:grpSpPr>
        <p:pic>
          <p:nvPicPr>
            <p:cNvPr id="15" name="Picture 34">
              <a:extLst>
                <a:ext uri="{FF2B5EF4-FFF2-40B4-BE49-F238E27FC236}">
                  <a16:creationId xmlns:a16="http://schemas.microsoft.com/office/drawing/2014/main" id="{DDC62B89-1326-4317-9C5B-89680681F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rcRect l="18732" t="14956" r="50206" b="52163"/>
            <a:stretch>
              <a:fillRect/>
            </a:stretch>
          </p:blipFill>
          <p:spPr bwMode="gray">
            <a:xfrm>
              <a:off x="-1573454" y="1531453"/>
              <a:ext cx="1335187" cy="795026"/>
            </a:xfrm>
            <a:custGeom>
              <a:avLst/>
              <a:gdLst>
                <a:gd name="connsiteX0" fmla="*/ 0 w 2840306"/>
                <a:gd name="connsiteY0" fmla="*/ 0 h 1691236"/>
                <a:gd name="connsiteX1" fmla="*/ 2840306 w 2840306"/>
                <a:gd name="connsiteY1" fmla="*/ 0 h 1691236"/>
                <a:gd name="connsiteX2" fmla="*/ 2840306 w 2840306"/>
                <a:gd name="connsiteY2" fmla="*/ 1691236 h 1691236"/>
                <a:gd name="connsiteX3" fmla="*/ 0 w 2840306"/>
                <a:gd name="connsiteY3" fmla="*/ 1691236 h 1691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40306" h="1691236">
                  <a:moveTo>
                    <a:pt x="0" y="0"/>
                  </a:moveTo>
                  <a:lnTo>
                    <a:pt x="2840306" y="0"/>
                  </a:lnTo>
                  <a:lnTo>
                    <a:pt x="2840306" y="1691236"/>
                  </a:lnTo>
                  <a:lnTo>
                    <a:pt x="0" y="1691236"/>
                  </a:lnTo>
                  <a:close/>
                </a:path>
              </a:pathLst>
            </a:custGeom>
          </p:spPr>
        </p:pic>
        <p:sp>
          <p:nvSpPr>
            <p:cNvPr id="16" name="Multiply 30">
              <a:extLst>
                <a:ext uri="{FF2B5EF4-FFF2-40B4-BE49-F238E27FC236}">
                  <a16:creationId xmlns:a16="http://schemas.microsoft.com/office/drawing/2014/main" id="{1E2C07B4-69F9-4521-AAF6-12CD6CA1844F}"/>
                </a:ext>
              </a:extLst>
            </p:cNvPr>
            <p:cNvSpPr/>
            <p:nvPr/>
          </p:nvSpPr>
          <p:spPr bwMode="gray">
            <a:xfrm>
              <a:off x="-1571627" y="1551174"/>
              <a:ext cx="245272" cy="245272"/>
            </a:xfrm>
            <a:prstGeom prst="mathMultiply">
              <a:avLst>
                <a:gd name="adj1" fmla="val 8315"/>
              </a:avLst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GB" sz="2400" dirty="0" err="1"/>
            </a:p>
          </p:txBody>
        </p:sp>
      </p:grpSp>
      <p:pic>
        <p:nvPicPr>
          <p:cNvPr id="17" name="Picture 29">
            <a:extLst>
              <a:ext uri="{FF2B5EF4-FFF2-40B4-BE49-F238E27FC236}">
                <a16:creationId xmlns:a16="http://schemas.microsoft.com/office/drawing/2014/main" id="{8A3058E3-E7BE-4686-B0CC-3FEDA91961B8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9351433" y="314921"/>
            <a:ext cx="2376000" cy="349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14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662" r:id="rId13"/>
    <p:sldLayoutId id="2147483666" r:id="rId14"/>
    <p:sldLayoutId id="2147483672" r:id="rId15"/>
    <p:sldLayoutId id="2147483673" r:id="rId16"/>
    <p:sldLayoutId id="2147483674" r:id="rId17"/>
    <p:sldLayoutId id="2147483675" r:id="rId18"/>
    <p:sldLayoutId id="2147483676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9" r:id="rId26"/>
    <p:sldLayoutId id="2147483690" r:id="rId2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Relationship Id="rId9" Type="http://schemas.openxmlformats.org/officeDocument/2006/relationships/image" Target="../media/image2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jp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30.png"/><Relationship Id="rId11" Type="http://schemas.openxmlformats.org/officeDocument/2006/relationships/image" Target="../media/image35.jpeg"/><Relationship Id="rId5" Type="http://schemas.openxmlformats.org/officeDocument/2006/relationships/image" Target="../media/image29.jpeg"/><Relationship Id="rId10" Type="http://schemas.openxmlformats.org/officeDocument/2006/relationships/image" Target="../media/image34.jpeg"/><Relationship Id="rId4" Type="http://schemas.openxmlformats.org/officeDocument/2006/relationships/image" Target="../media/image28.jpg"/><Relationship Id="rId9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wrBU-lfLP2U" TargetMode="External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6">
                <a:lumMod val="5000"/>
                <a:lumOff val="95000"/>
              </a:schemeClr>
            </a:gs>
            <a:gs pos="54000">
              <a:srgbClr val="00FF00">
                <a:alpha val="73000"/>
                <a:lumMod val="99000"/>
              </a:srgbClr>
            </a:gs>
            <a:gs pos="100000">
              <a:schemeClr val="accent6">
                <a:lumMod val="45000"/>
                <a:lumOff val="55000"/>
              </a:schemeClr>
            </a:gs>
            <a:gs pos="100000">
              <a:schemeClr val="accent6">
                <a:lumMod val="30000"/>
                <a:lumOff val="7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5C5767-7B3E-433A-A574-2C6CC19E5EF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260" y="1811499"/>
            <a:ext cx="9591675" cy="2815431"/>
          </a:xfrm>
        </p:spPr>
        <p:txBody>
          <a:bodyPr>
            <a:noAutofit/>
          </a:bodyPr>
          <a:lstStyle/>
          <a:p>
            <a:r>
              <a:rPr lang="nl-NL" sz="21500" b="1" dirty="0">
                <a:ln w="28575">
                  <a:noFill/>
                </a:ln>
                <a:gradFill>
                  <a:gsLst>
                    <a:gs pos="37000">
                      <a:srgbClr val="FF0000"/>
                    </a:gs>
                    <a:gs pos="49000">
                      <a:schemeClr val="accent4"/>
                    </a:gs>
                    <a:gs pos="66000">
                      <a:schemeClr val="accent1"/>
                    </a:gs>
                    <a:gs pos="58000">
                      <a:schemeClr val="accent6"/>
                    </a:gs>
                    <a:gs pos="82000">
                      <a:srgbClr val="7030A0"/>
                    </a:gs>
                  </a:gsLst>
                  <a:lin ang="5400000" scaled="1"/>
                </a:gradFill>
                <a:effectLst>
                  <a:glow rad="101600">
                    <a:schemeClr val="accent3">
                      <a:lumMod val="60000"/>
                      <a:lumOff val="40000"/>
                      <a:alpha val="60000"/>
                    </a:schemeClr>
                  </a:glow>
                </a:effectLst>
                <a:latin typeface="Arial Black" panose="020B0A04020102020204" pitchFamily="34" charset="0"/>
              </a:rPr>
              <a:t>Kleur</a:t>
            </a:r>
            <a:endParaRPr lang="nl-NL" sz="8000" dirty="0">
              <a:effectLst>
                <a:glow rad="101600">
                  <a:schemeClr val="accent3">
                    <a:lumMod val="60000"/>
                    <a:lumOff val="40000"/>
                    <a:alpha val="6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9966197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7">
            <a:extLst>
              <a:ext uri="{FF2B5EF4-FFF2-40B4-BE49-F238E27FC236}">
                <a16:creationId xmlns:a16="http://schemas.microsoft.com/office/drawing/2014/main" id="{ADE46999-7FEC-4A60-8E58-15D460B4191D}"/>
              </a:ext>
            </a:extLst>
          </p:cNvPr>
          <p:cNvSpPr txBox="1">
            <a:spLocks/>
          </p:cNvSpPr>
          <p:nvPr/>
        </p:nvSpPr>
        <p:spPr>
          <a:xfrm>
            <a:off x="1933355" y="1350175"/>
            <a:ext cx="2781304" cy="651648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defTabSz="1219170">
              <a:lnSpc>
                <a:spcPts val="3333"/>
              </a:lnSpc>
            </a:pPr>
            <a:r>
              <a:rPr lang="nl-BE" sz="3200" b="0" dirty="0">
                <a:solidFill>
                  <a:srgbClr val="FF0000"/>
                </a:solidFill>
                <a:latin typeface="+mn-lt"/>
              </a:rPr>
              <a:t>Camouflage</a:t>
            </a:r>
            <a:r>
              <a:rPr lang="nl-BE" sz="3333" dirty="0">
                <a:solidFill>
                  <a:srgbClr val="FF0000"/>
                </a:solidFill>
                <a:latin typeface="+mn-lt"/>
              </a:rPr>
              <a:t> </a:t>
            </a:r>
          </a:p>
        </p:txBody>
      </p:sp>
      <p:sp>
        <p:nvSpPr>
          <p:cNvPr id="28" name="Rectangle: Diagonal Corners Rounded 27">
            <a:extLst>
              <a:ext uri="{FF2B5EF4-FFF2-40B4-BE49-F238E27FC236}">
                <a16:creationId xmlns:a16="http://schemas.microsoft.com/office/drawing/2014/main" id="{DFDDA67A-C2EB-41A6-95F9-654733D42F04}"/>
              </a:ext>
            </a:extLst>
          </p:cNvPr>
          <p:cNvSpPr/>
          <p:nvPr/>
        </p:nvSpPr>
        <p:spPr>
          <a:xfrm>
            <a:off x="111278" y="1963962"/>
            <a:ext cx="5863244" cy="4493093"/>
          </a:xfrm>
          <a:prstGeom prst="round2DiagRect">
            <a:avLst/>
          </a:prstGeom>
          <a:solidFill>
            <a:schemeClr val="bg2">
              <a:lumMod val="20000"/>
              <a:lumOff val="80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380990" indent="-380990" defTabSz="121917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nl-BE" sz="2667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  <p:sp>
        <p:nvSpPr>
          <p:cNvPr id="39" name="Title 7">
            <a:extLst>
              <a:ext uri="{FF2B5EF4-FFF2-40B4-BE49-F238E27FC236}">
                <a16:creationId xmlns:a16="http://schemas.microsoft.com/office/drawing/2014/main" id="{D7E83D06-3B75-40F5-9B5B-990D330D9626}"/>
              </a:ext>
            </a:extLst>
          </p:cNvPr>
          <p:cNvSpPr txBox="1">
            <a:spLocks/>
          </p:cNvSpPr>
          <p:nvPr/>
        </p:nvSpPr>
        <p:spPr bwMode="gray">
          <a:xfrm>
            <a:off x="315075" y="461182"/>
            <a:ext cx="4669836" cy="651648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defTabSz="1219170">
              <a:lnSpc>
                <a:spcPts val="3333"/>
              </a:lnSpc>
            </a:pPr>
            <a:r>
              <a:rPr lang="nl-BE" sz="4400" dirty="0">
                <a:solidFill>
                  <a:schemeClr val="tx1"/>
                </a:solidFill>
                <a:latin typeface="+mn-lt"/>
              </a:rPr>
              <a:t>Functie van kleur  </a:t>
            </a:r>
          </a:p>
        </p:txBody>
      </p:sp>
      <p:sp>
        <p:nvSpPr>
          <p:cNvPr id="40" name="Title 7">
            <a:extLst>
              <a:ext uri="{FF2B5EF4-FFF2-40B4-BE49-F238E27FC236}">
                <a16:creationId xmlns:a16="http://schemas.microsoft.com/office/drawing/2014/main" id="{8784E780-064C-4344-B03F-5DC11041BC23}"/>
              </a:ext>
            </a:extLst>
          </p:cNvPr>
          <p:cNvSpPr txBox="1">
            <a:spLocks/>
          </p:cNvSpPr>
          <p:nvPr/>
        </p:nvSpPr>
        <p:spPr>
          <a:xfrm>
            <a:off x="7315201" y="1350175"/>
            <a:ext cx="4398432" cy="651648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defTabSz="1219170">
              <a:lnSpc>
                <a:spcPts val="3333"/>
              </a:lnSpc>
            </a:pPr>
            <a:r>
              <a:rPr lang="nl-BE" sz="3200" b="0" dirty="0">
                <a:solidFill>
                  <a:srgbClr val="FF0000"/>
                </a:solidFill>
                <a:latin typeface="+mn-lt"/>
              </a:rPr>
              <a:t>Esthetiek (schoonheid)</a:t>
            </a:r>
            <a:r>
              <a:rPr lang="nl-BE" sz="3333" dirty="0">
                <a:solidFill>
                  <a:srgbClr val="FF0000"/>
                </a:solidFill>
                <a:latin typeface="+mn-lt"/>
              </a:rPr>
              <a:t> </a:t>
            </a:r>
          </a:p>
        </p:txBody>
      </p:sp>
      <p:sp>
        <p:nvSpPr>
          <p:cNvPr id="41" name="Rectangle: Diagonal Corners Rounded 40">
            <a:extLst>
              <a:ext uri="{FF2B5EF4-FFF2-40B4-BE49-F238E27FC236}">
                <a16:creationId xmlns:a16="http://schemas.microsoft.com/office/drawing/2014/main" id="{F147B614-27A8-4E6C-9D8C-1AAE995F3B7E}"/>
              </a:ext>
            </a:extLst>
          </p:cNvPr>
          <p:cNvSpPr/>
          <p:nvPr/>
        </p:nvSpPr>
        <p:spPr>
          <a:xfrm>
            <a:off x="6194857" y="1963962"/>
            <a:ext cx="5863244" cy="4493093"/>
          </a:xfrm>
          <a:prstGeom prst="round2DiagRect">
            <a:avLst/>
          </a:prstGeom>
          <a:solidFill>
            <a:schemeClr val="bg2">
              <a:lumMod val="20000"/>
              <a:lumOff val="80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380990" indent="-380990" defTabSz="121917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nl-BE" sz="2667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109CFA42-2047-F800-B91D-0A6E4D52CE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8229" y="2615646"/>
            <a:ext cx="2880017" cy="1440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The Future of Fashion is Now - Museum Boijmans Van Beuningen">
            <a:extLst>
              <a:ext uri="{FF2B5EF4-FFF2-40B4-BE49-F238E27FC236}">
                <a16:creationId xmlns:a16="http://schemas.microsoft.com/office/drawing/2014/main" id="{3CBD7C68-ACE2-5806-513C-3761AE9C98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2471" y="5069013"/>
            <a:ext cx="2268496" cy="1277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30 Stunning Fashion Photography Images for Inspiration | Pop art fashion,  Model photography, Editorial photography">
            <a:extLst>
              <a:ext uri="{FF2B5EF4-FFF2-40B4-BE49-F238E27FC236}">
                <a16:creationId xmlns:a16="http://schemas.microsoft.com/office/drawing/2014/main" id="{3DE71DDB-BF72-3A90-39B3-001ADF3BFC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5556" y="2284851"/>
            <a:ext cx="1799028" cy="2702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6" name="Picture 8" descr="Woonkamer inspiratie | Bekijk ons lookbook met foto's! - Sfeer aan de Muur">
            <a:extLst>
              <a:ext uri="{FF2B5EF4-FFF2-40B4-BE49-F238E27FC236}">
                <a16:creationId xmlns:a16="http://schemas.microsoft.com/office/drawing/2014/main" id="{91C7B48A-EEDB-15B4-3C71-27D5751914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0801" y="4238413"/>
            <a:ext cx="1497465" cy="14974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amouflage">
            <a:extLst>
              <a:ext uri="{FF2B5EF4-FFF2-40B4-BE49-F238E27FC236}">
                <a16:creationId xmlns:a16="http://schemas.microsoft.com/office/drawing/2014/main" id="{8774DDAD-9BB5-C9DC-525F-A9340E165B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18" y="4375340"/>
            <a:ext cx="2630125" cy="1749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amouflage / Algemene diereninfo | Repm">
            <a:extLst>
              <a:ext uri="{FF2B5EF4-FFF2-40B4-BE49-F238E27FC236}">
                <a16:creationId xmlns:a16="http://schemas.microsoft.com/office/drawing/2014/main" id="{5D0057F0-E1F2-093A-1F22-5DF81D0A75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75" y="2403919"/>
            <a:ext cx="2705931" cy="18039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amouflage bij vogelfotografie: het werkt echt - Natuurfotografie">
            <a:extLst>
              <a:ext uri="{FF2B5EF4-FFF2-40B4-BE49-F238E27FC236}">
                <a16:creationId xmlns:a16="http://schemas.microsoft.com/office/drawing/2014/main" id="{6B2862A8-AF18-3BAC-1EF5-B1C779400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9380" y="4375339"/>
            <a:ext cx="2584684" cy="17490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49 ideeën over School: Thema: Dieren: Dieren met schutkleuren in 2022 |  dieren, camouflage, thema">
            <a:extLst>
              <a:ext uri="{FF2B5EF4-FFF2-40B4-BE49-F238E27FC236}">
                <a16:creationId xmlns:a16="http://schemas.microsoft.com/office/drawing/2014/main" id="{1CCF63C5-49DB-E6FC-C199-38F8816A81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3289" y="2403918"/>
            <a:ext cx="2445994" cy="1834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8982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FFC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7">
            <a:extLst>
              <a:ext uri="{FF2B5EF4-FFF2-40B4-BE49-F238E27FC236}">
                <a16:creationId xmlns:a16="http://schemas.microsoft.com/office/drawing/2014/main" id="{ADE46999-7FEC-4A60-8E58-15D460B4191D}"/>
              </a:ext>
            </a:extLst>
          </p:cNvPr>
          <p:cNvSpPr txBox="1">
            <a:spLocks/>
          </p:cNvSpPr>
          <p:nvPr/>
        </p:nvSpPr>
        <p:spPr>
          <a:xfrm>
            <a:off x="1933355" y="1350175"/>
            <a:ext cx="2781304" cy="651648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defTabSz="1219170">
              <a:lnSpc>
                <a:spcPts val="3333"/>
              </a:lnSpc>
            </a:pPr>
            <a:r>
              <a:rPr lang="nl-BE" sz="3200" b="0" dirty="0">
                <a:solidFill>
                  <a:srgbClr val="FF0000"/>
                </a:solidFill>
                <a:latin typeface="+mn-lt"/>
              </a:rPr>
              <a:t>Identificatie</a:t>
            </a:r>
            <a:endParaRPr lang="nl-BE" sz="3333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28" name="Rectangle: Diagonal Corners Rounded 27">
            <a:extLst>
              <a:ext uri="{FF2B5EF4-FFF2-40B4-BE49-F238E27FC236}">
                <a16:creationId xmlns:a16="http://schemas.microsoft.com/office/drawing/2014/main" id="{DFDDA67A-C2EB-41A6-95F9-654733D42F04}"/>
              </a:ext>
            </a:extLst>
          </p:cNvPr>
          <p:cNvSpPr/>
          <p:nvPr/>
        </p:nvSpPr>
        <p:spPr>
          <a:xfrm>
            <a:off x="111278" y="1963962"/>
            <a:ext cx="5863244" cy="4493093"/>
          </a:xfrm>
          <a:prstGeom prst="round2DiagRect">
            <a:avLst/>
          </a:prstGeom>
          <a:solidFill>
            <a:schemeClr val="bg2">
              <a:lumMod val="20000"/>
              <a:lumOff val="80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380990" indent="-380990" defTabSz="121917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nl-BE" sz="2667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  <p:sp>
        <p:nvSpPr>
          <p:cNvPr id="40" name="Title 7">
            <a:extLst>
              <a:ext uri="{FF2B5EF4-FFF2-40B4-BE49-F238E27FC236}">
                <a16:creationId xmlns:a16="http://schemas.microsoft.com/office/drawing/2014/main" id="{8784E780-064C-4344-B03F-5DC11041BC23}"/>
              </a:ext>
            </a:extLst>
          </p:cNvPr>
          <p:cNvSpPr txBox="1">
            <a:spLocks/>
          </p:cNvSpPr>
          <p:nvPr/>
        </p:nvSpPr>
        <p:spPr>
          <a:xfrm>
            <a:off x="8243853" y="1350175"/>
            <a:ext cx="2781304" cy="651648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defTabSz="1219170">
              <a:lnSpc>
                <a:spcPts val="3333"/>
              </a:lnSpc>
            </a:pPr>
            <a:r>
              <a:rPr lang="nl-BE" sz="3200" b="0" dirty="0">
                <a:solidFill>
                  <a:srgbClr val="FF0000"/>
                </a:solidFill>
                <a:latin typeface="+mn-lt"/>
              </a:rPr>
              <a:t>Instructie</a:t>
            </a:r>
            <a:r>
              <a:rPr lang="nl-BE" sz="3333" dirty="0">
                <a:solidFill>
                  <a:srgbClr val="FF0000"/>
                </a:solidFill>
                <a:latin typeface="+mn-lt"/>
              </a:rPr>
              <a:t> </a:t>
            </a:r>
          </a:p>
        </p:txBody>
      </p:sp>
      <p:sp>
        <p:nvSpPr>
          <p:cNvPr id="41" name="Rectangle: Diagonal Corners Rounded 40">
            <a:extLst>
              <a:ext uri="{FF2B5EF4-FFF2-40B4-BE49-F238E27FC236}">
                <a16:creationId xmlns:a16="http://schemas.microsoft.com/office/drawing/2014/main" id="{F147B614-27A8-4E6C-9D8C-1AAE995F3B7E}"/>
              </a:ext>
            </a:extLst>
          </p:cNvPr>
          <p:cNvSpPr/>
          <p:nvPr/>
        </p:nvSpPr>
        <p:spPr>
          <a:xfrm>
            <a:off x="6194857" y="1961430"/>
            <a:ext cx="5863244" cy="4493093"/>
          </a:xfrm>
          <a:prstGeom prst="round2DiagRect">
            <a:avLst/>
          </a:prstGeom>
          <a:solidFill>
            <a:schemeClr val="bg2">
              <a:lumMod val="20000"/>
              <a:lumOff val="80000"/>
              <a:alpha val="5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marL="380990" indent="-380990" defTabSz="121917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nl-BE" sz="2667" dirty="0">
              <a:solidFill>
                <a:schemeClr val="tx1"/>
              </a:solidFill>
              <a:latin typeface="Candara" panose="020E0502030303020204" pitchFamily="34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7FD91447-8DE2-4D04-8AC6-B694ACFC97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65146" y="2799816"/>
            <a:ext cx="1753013" cy="1753013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D1A94ECB-4B4B-439C-AF71-40D52F4F1D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4247" y="4604514"/>
            <a:ext cx="2066563" cy="999404"/>
          </a:xfrm>
          <a:prstGeom prst="rect">
            <a:avLst/>
          </a:prstGeom>
        </p:spPr>
      </p:pic>
      <p:pic>
        <p:nvPicPr>
          <p:cNvPr id="17" name="Picture Placeholder 3">
            <a:extLst>
              <a:ext uri="{FF2B5EF4-FFF2-40B4-BE49-F238E27FC236}">
                <a16:creationId xmlns:a16="http://schemas.microsoft.com/office/drawing/2014/main" id="{F3EF7469-A7CB-4861-8D8B-6506C93AAB49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23894" r="23894"/>
          <a:stretch>
            <a:fillRect/>
          </a:stretch>
        </p:blipFill>
        <p:spPr bwMode="gray">
          <a:xfrm>
            <a:off x="368476" y="3292000"/>
            <a:ext cx="1270307" cy="1270307"/>
          </a:xfrm>
          <a:prstGeom prst="rect">
            <a:avLst/>
          </a:prstGeom>
        </p:spPr>
      </p:pic>
      <p:pic>
        <p:nvPicPr>
          <p:cNvPr id="18" name="Picture 22" descr="http://sgu05vls.files.wordpress.com/2008/01/ccbanner1.jpg">
            <a:extLst>
              <a:ext uri="{FF2B5EF4-FFF2-40B4-BE49-F238E27FC236}">
                <a16:creationId xmlns:a16="http://schemas.microsoft.com/office/drawing/2014/main" id="{E29F1983-4D1F-4161-9D88-B4C0AF3E5D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43351" y="3897234"/>
            <a:ext cx="2056223" cy="101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Title 7">
            <a:extLst>
              <a:ext uri="{FF2B5EF4-FFF2-40B4-BE49-F238E27FC236}">
                <a16:creationId xmlns:a16="http://schemas.microsoft.com/office/drawing/2014/main" id="{D7E83D06-3B75-40F5-9B5B-990D330D9626}"/>
              </a:ext>
            </a:extLst>
          </p:cNvPr>
          <p:cNvSpPr txBox="1">
            <a:spLocks/>
          </p:cNvSpPr>
          <p:nvPr/>
        </p:nvSpPr>
        <p:spPr bwMode="gray">
          <a:xfrm>
            <a:off x="329569" y="333944"/>
            <a:ext cx="4669836" cy="789361"/>
          </a:xfrm>
          <a:prstGeom prst="rect">
            <a:avLst/>
          </a:prstGeom>
        </p:spPr>
        <p:txBody>
          <a:bodyPr wrap="square" lIns="0" tIns="0" rIns="0" bIns="0" rtlCol="0" anchor="ctr" anchorCtr="0">
            <a:noAutofit/>
          </a:bodyPr>
          <a:lstStyle>
            <a:lvl1pPr marL="0"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lang="en-GB" sz="25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pPr defTabSz="1219170">
              <a:lnSpc>
                <a:spcPts val="3333"/>
              </a:lnSpc>
            </a:pPr>
            <a:r>
              <a:rPr lang="nl-BE" sz="4400" dirty="0">
                <a:solidFill>
                  <a:schemeClr val="tx1"/>
                </a:solidFill>
                <a:latin typeface="+mn-lt"/>
              </a:rPr>
              <a:t>Functie van kleur  </a:t>
            </a:r>
          </a:p>
        </p:txBody>
      </p:sp>
      <p:pic>
        <p:nvPicPr>
          <p:cNvPr id="1028" name="Picture 4" descr="Apple logo and symbol, meaning, history, PNG">
            <a:extLst>
              <a:ext uri="{FF2B5EF4-FFF2-40B4-BE49-F238E27FC236}">
                <a16:creationId xmlns:a16="http://schemas.microsoft.com/office/drawing/2014/main" id="{B84534AE-BC0A-094A-D179-E0304021DB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991" y="5182130"/>
            <a:ext cx="1762505" cy="992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Tiktok Logo Merk - Gratis afbeelding op Pixabay">
            <a:extLst>
              <a:ext uri="{FF2B5EF4-FFF2-40B4-BE49-F238E27FC236}">
                <a16:creationId xmlns:a16="http://schemas.microsoft.com/office/drawing/2014/main" id="{B57B076A-3314-E7ED-4E82-243AEC9BE5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4402" y="2513144"/>
            <a:ext cx="1557712" cy="1557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8D24C274-5958-E5BF-6B31-13FBB2BC26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4739" y="2228692"/>
            <a:ext cx="1295616" cy="13614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Nederlands voetbalelftal png | PNGEgg">
            <a:extLst>
              <a:ext uri="{FF2B5EF4-FFF2-40B4-BE49-F238E27FC236}">
                <a16:creationId xmlns:a16="http://schemas.microsoft.com/office/drawing/2014/main" id="{C2439489-26D7-EBC7-0A5C-E0CE6B4676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909" y="4505333"/>
            <a:ext cx="1270307" cy="1645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Veiligheidssticker, 6 pictogrammen met omgangsregels, ft 100 x 50 cm bij  VindiQ Office">
            <a:extLst>
              <a:ext uri="{FF2B5EF4-FFF2-40B4-BE49-F238E27FC236}">
                <a16:creationId xmlns:a16="http://schemas.microsoft.com/office/drawing/2014/main" id="{20A51F4F-8D84-278A-5ECF-C009904D0D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5288" y="4909309"/>
            <a:ext cx="2528048" cy="13587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Stoplicht afbeeldingen, beelden en stockfoto's - iStock">
            <a:extLst>
              <a:ext uri="{FF2B5EF4-FFF2-40B4-BE49-F238E27FC236}">
                <a16:creationId xmlns:a16="http://schemas.microsoft.com/office/drawing/2014/main" id="{D9B54EF2-BD2C-8A64-6735-092DB33274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5952" y="2538711"/>
            <a:ext cx="2303562" cy="1718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847819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BAE4340F-1548-CAD2-1696-0A8A24A236D4}"/>
              </a:ext>
            </a:extLst>
          </p:cNvPr>
          <p:cNvSpPr txBox="1"/>
          <p:nvPr/>
        </p:nvSpPr>
        <p:spPr>
          <a:xfrm>
            <a:off x="2265813" y="627018"/>
            <a:ext cx="87164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400" dirty="0">
                <a:solidFill>
                  <a:srgbClr val="FF0000"/>
                </a:solidFill>
              </a:rPr>
              <a:t>    </a:t>
            </a:r>
            <a:r>
              <a:rPr lang="nl-NL" sz="4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imaire kleuren</a:t>
            </a:r>
          </a:p>
        </p:txBody>
      </p:sp>
      <p:pic>
        <p:nvPicPr>
          <p:cNvPr id="3" name="Picture 2" descr="Afbeeldingsresultaat voor primaire kleuren&quot;">
            <a:extLst>
              <a:ext uri="{FF2B5EF4-FFF2-40B4-BE49-F238E27FC236}">
                <a16:creationId xmlns:a16="http://schemas.microsoft.com/office/drawing/2014/main" id="{E096D428-F561-4909-A808-30968B5C0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813" y="1616595"/>
            <a:ext cx="4708558" cy="4614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B4F04167-4009-0BF4-D0AD-B58A6618E8DD}"/>
              </a:ext>
            </a:extLst>
          </p:cNvPr>
          <p:cNvSpPr txBox="1"/>
          <p:nvPr/>
        </p:nvSpPr>
        <p:spPr>
          <a:xfrm>
            <a:off x="9360134" y="2477203"/>
            <a:ext cx="221118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 sz="3200" dirty="0"/>
          </a:p>
          <a:p>
            <a:endParaRPr lang="nl-NL" sz="3200" dirty="0"/>
          </a:p>
          <a:p>
            <a:r>
              <a:rPr lang="nl-NL" sz="3200" dirty="0">
                <a:solidFill>
                  <a:srgbClr val="FF0000"/>
                </a:solidFill>
              </a:rPr>
              <a:t>Rood</a:t>
            </a:r>
          </a:p>
          <a:p>
            <a:endParaRPr lang="nl-NL" sz="3200" dirty="0"/>
          </a:p>
          <a:p>
            <a:r>
              <a:rPr lang="nl-NL" sz="3200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Geel </a:t>
            </a:r>
          </a:p>
          <a:p>
            <a:endParaRPr lang="nl-NL" sz="3200" dirty="0"/>
          </a:p>
          <a:p>
            <a:r>
              <a:rPr lang="nl-NL" sz="3200" dirty="0">
                <a:solidFill>
                  <a:schemeClr val="accent5">
                    <a:lumMod val="75000"/>
                  </a:schemeClr>
                </a:solidFill>
              </a:rPr>
              <a:t>Blauw</a:t>
            </a:r>
          </a:p>
        </p:txBody>
      </p:sp>
    </p:spTree>
    <p:extLst>
      <p:ext uri="{BB962C8B-B14F-4D97-AF65-F5344CB8AC3E}">
        <p14:creationId xmlns:p14="http://schemas.microsoft.com/office/powerpoint/2010/main" val="2962356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BAE4340F-1548-CAD2-1696-0A8A24A236D4}"/>
              </a:ext>
            </a:extLst>
          </p:cNvPr>
          <p:cNvSpPr txBox="1"/>
          <p:nvPr/>
        </p:nvSpPr>
        <p:spPr>
          <a:xfrm>
            <a:off x="2265813" y="627018"/>
            <a:ext cx="87164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400" dirty="0">
                <a:solidFill>
                  <a:srgbClr val="FF0000"/>
                </a:solidFill>
              </a:rPr>
              <a:t> </a:t>
            </a:r>
            <a:r>
              <a:rPr lang="nl-NL" sz="4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Secundaire kleuren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B4F04167-4009-0BF4-D0AD-B58A6618E8DD}"/>
              </a:ext>
            </a:extLst>
          </p:cNvPr>
          <p:cNvSpPr txBox="1"/>
          <p:nvPr/>
        </p:nvSpPr>
        <p:spPr>
          <a:xfrm>
            <a:off x="9360134" y="2477203"/>
            <a:ext cx="2211185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 sz="3200" dirty="0"/>
          </a:p>
          <a:p>
            <a:endParaRPr lang="nl-NL" sz="3200" dirty="0"/>
          </a:p>
          <a:p>
            <a:r>
              <a:rPr lang="nl-NL" sz="3200" dirty="0">
                <a:solidFill>
                  <a:srgbClr val="7030A0"/>
                </a:solidFill>
              </a:rPr>
              <a:t>Paars</a:t>
            </a:r>
          </a:p>
          <a:p>
            <a:endParaRPr lang="nl-NL" sz="3200" dirty="0"/>
          </a:p>
          <a:p>
            <a:r>
              <a:rPr lang="nl-NL" sz="3200" dirty="0">
                <a:solidFill>
                  <a:srgbClr val="FFC000"/>
                </a:solidFill>
              </a:rPr>
              <a:t>Oranje </a:t>
            </a:r>
          </a:p>
          <a:p>
            <a:endParaRPr lang="nl-NL" sz="3200" dirty="0"/>
          </a:p>
          <a:p>
            <a:r>
              <a:rPr lang="nl-NL" sz="3200" dirty="0">
                <a:solidFill>
                  <a:srgbClr val="00FF00"/>
                </a:solidFill>
              </a:rPr>
              <a:t>Groen</a:t>
            </a:r>
          </a:p>
        </p:txBody>
      </p:sp>
      <p:pic>
        <p:nvPicPr>
          <p:cNvPr id="3074" name="Picture 2" descr="Kleurencirkel - Wikipedia">
            <a:extLst>
              <a:ext uri="{FF2B5EF4-FFF2-40B4-BE49-F238E27FC236}">
                <a16:creationId xmlns:a16="http://schemas.microsoft.com/office/drawing/2014/main" id="{578D66D5-12B6-DF55-13ED-9ADD173FC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6691" y="1606058"/>
            <a:ext cx="4508588" cy="4410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70537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BAE4340F-1548-CAD2-1696-0A8A24A236D4}"/>
              </a:ext>
            </a:extLst>
          </p:cNvPr>
          <p:cNvSpPr txBox="1"/>
          <p:nvPr/>
        </p:nvSpPr>
        <p:spPr>
          <a:xfrm>
            <a:off x="3025834" y="382913"/>
            <a:ext cx="871648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400" dirty="0"/>
              <a:t> </a:t>
            </a:r>
            <a:r>
              <a:rPr lang="nl-NL" sz="4400" dirty="0">
                <a:solidFill>
                  <a:srgbClr val="FF0000"/>
                </a:solidFill>
              </a:rPr>
              <a:t>Warme</a:t>
            </a:r>
            <a:r>
              <a:rPr lang="nl-NL" sz="4400" dirty="0"/>
              <a:t> en </a:t>
            </a:r>
            <a:r>
              <a:rPr lang="nl-NL" sz="4400" dirty="0">
                <a:solidFill>
                  <a:srgbClr val="00B0F0"/>
                </a:solidFill>
              </a:rPr>
              <a:t>koude</a:t>
            </a:r>
            <a:r>
              <a:rPr lang="nl-NL" sz="4400" dirty="0"/>
              <a:t> kleuren</a:t>
            </a:r>
          </a:p>
        </p:txBody>
      </p:sp>
      <p:pic>
        <p:nvPicPr>
          <p:cNvPr id="5126" name="Picture 6" descr="Teken Basisbeginselen - Kleurentheorie | Hobbytekenen.nl">
            <a:extLst>
              <a:ext uri="{FF2B5EF4-FFF2-40B4-BE49-F238E27FC236}">
                <a16:creationId xmlns:a16="http://schemas.microsoft.com/office/drawing/2014/main" id="{33CC7D8D-A4B5-9C3F-C74F-4F41704BD2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2539" y="1793622"/>
            <a:ext cx="5103503" cy="3912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8" name="Picture 8" descr="Koude kleuren | Warme kleuren, Kleuren, Kleurenleer">
            <a:extLst>
              <a:ext uri="{FF2B5EF4-FFF2-40B4-BE49-F238E27FC236}">
                <a16:creationId xmlns:a16="http://schemas.microsoft.com/office/drawing/2014/main" id="{E049442F-8C01-75A7-BE6F-2AA24785E6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5843" y="2909455"/>
            <a:ext cx="2796191" cy="2796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4555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BAE4340F-1548-CAD2-1696-0A8A24A236D4}"/>
              </a:ext>
            </a:extLst>
          </p:cNvPr>
          <p:cNvSpPr txBox="1"/>
          <p:nvPr/>
        </p:nvSpPr>
        <p:spPr>
          <a:xfrm>
            <a:off x="593767" y="627018"/>
            <a:ext cx="103885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4400" dirty="0">
                <a:solidFill>
                  <a:srgbClr val="FF0000"/>
                </a:solidFill>
              </a:rPr>
              <a:t> </a:t>
            </a:r>
            <a:r>
              <a:rPr lang="nl-NL" sz="4400" dirty="0">
                <a:solidFill>
                  <a:srgbClr val="92D050"/>
                </a:solidFill>
              </a:rPr>
              <a:t>Kleur en gevoel</a:t>
            </a:r>
          </a:p>
        </p:txBody>
      </p:sp>
      <p:pic>
        <p:nvPicPr>
          <p:cNvPr id="3" name="Picture 2" descr="Afbeeldingsresultaat voor kleur gevoel">
            <a:extLst>
              <a:ext uri="{FF2B5EF4-FFF2-40B4-BE49-F238E27FC236}">
                <a16:creationId xmlns:a16="http://schemas.microsoft.com/office/drawing/2014/main" id="{927DB71B-6F00-228A-ACE7-1CC32E9959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210" y="673659"/>
            <a:ext cx="5958938" cy="5904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468049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DBD9C001-FAA6-333C-3CD3-9ABAEF8FFC6C}"/>
              </a:ext>
            </a:extLst>
          </p:cNvPr>
          <p:cNvSpPr/>
          <p:nvPr/>
        </p:nvSpPr>
        <p:spPr>
          <a:xfrm>
            <a:off x="3314126" y="231260"/>
            <a:ext cx="4320413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6000" b="1" dirty="0">
                <a:solidFill>
                  <a:prstClr val="black"/>
                </a:solidFill>
                <a:latin typeface="Candara" panose="020E0502030303020204" pitchFamily="34" charset="0"/>
              </a:rPr>
              <a:t>Kleurnuance</a:t>
            </a:r>
            <a:endParaRPr lang="nl-NL" sz="2400" b="1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CF32130A-5D6B-AE68-4243-BDD2AD5A9CB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418"/>
          <a:stretch/>
        </p:blipFill>
        <p:spPr>
          <a:xfrm>
            <a:off x="621509" y="2237338"/>
            <a:ext cx="4791982" cy="3856652"/>
          </a:xfrm>
          <a:prstGeom prst="rect">
            <a:avLst/>
          </a:prstGeom>
        </p:spPr>
      </p:pic>
      <p:sp>
        <p:nvSpPr>
          <p:cNvPr id="14" name="Rechthoek 13">
            <a:extLst>
              <a:ext uri="{FF2B5EF4-FFF2-40B4-BE49-F238E27FC236}">
                <a16:creationId xmlns:a16="http://schemas.microsoft.com/office/drawing/2014/main" id="{0BDB4D86-FE68-806B-4358-5FD449E7129B}"/>
              </a:ext>
            </a:extLst>
          </p:cNvPr>
          <p:cNvSpPr/>
          <p:nvPr/>
        </p:nvSpPr>
        <p:spPr>
          <a:xfrm>
            <a:off x="1366103" y="1261433"/>
            <a:ext cx="1005558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4400" dirty="0">
                <a:solidFill>
                  <a:prstClr val="black"/>
                </a:solidFill>
                <a:latin typeface="Candara" panose="020E0502030303020204" pitchFamily="34" charset="0"/>
              </a:rPr>
              <a:t>				Mengen </a:t>
            </a:r>
            <a:r>
              <a:rPr lang="nl-NL" sz="2800" dirty="0">
                <a:solidFill>
                  <a:prstClr val="black"/>
                </a:solidFill>
                <a:latin typeface="Candara" panose="020E0502030303020204" pitchFamily="34" charset="0"/>
              </a:rPr>
              <a:t>van primaire kleuren </a:t>
            </a:r>
            <a:endParaRPr lang="nl-NL" sz="2400" dirty="0"/>
          </a:p>
        </p:txBody>
      </p:sp>
      <p:sp>
        <p:nvSpPr>
          <p:cNvPr id="16" name="Rechthoek 15">
            <a:extLst>
              <a:ext uri="{FF2B5EF4-FFF2-40B4-BE49-F238E27FC236}">
                <a16:creationId xmlns:a16="http://schemas.microsoft.com/office/drawing/2014/main" id="{54D1D5E6-8927-11AE-482D-1A7CE658796E}"/>
              </a:ext>
            </a:extLst>
          </p:cNvPr>
          <p:cNvSpPr/>
          <p:nvPr/>
        </p:nvSpPr>
        <p:spPr>
          <a:xfrm>
            <a:off x="6096000" y="4483175"/>
            <a:ext cx="46107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l-NL" sz="2400" dirty="0">
              <a:hlinkClick r:id="rId3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r>
              <a:rPr lang="nl-NL" sz="1600" dirty="0">
                <a:solidFill>
                  <a:srgbClr val="954F7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youtube.com/watch?v=wrBU-lfLP2U</a:t>
            </a:r>
            <a:r>
              <a:rPr lang="nl-NL" sz="1600" dirty="0"/>
              <a:t>    vanaf 2.08  kleurovergang</a:t>
            </a:r>
          </a:p>
        </p:txBody>
      </p:sp>
      <p:sp>
        <p:nvSpPr>
          <p:cNvPr id="58" name="Tekstvak 57">
            <a:extLst>
              <a:ext uri="{FF2B5EF4-FFF2-40B4-BE49-F238E27FC236}">
                <a16:creationId xmlns:a16="http://schemas.microsoft.com/office/drawing/2014/main" id="{7281A619-4A67-4BD6-B58D-49D39BCEFE4B}"/>
              </a:ext>
            </a:extLst>
          </p:cNvPr>
          <p:cNvSpPr txBox="1"/>
          <p:nvPr/>
        </p:nvSpPr>
        <p:spPr>
          <a:xfrm>
            <a:off x="1077864" y="1384543"/>
            <a:ext cx="387927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800" b="1" dirty="0">
                <a:solidFill>
                  <a:srgbClr val="C00000"/>
                </a:solidFill>
              </a:rPr>
              <a:t>Opdracht 1</a:t>
            </a:r>
          </a:p>
        </p:txBody>
      </p:sp>
    </p:spTree>
    <p:extLst>
      <p:ext uri="{BB962C8B-B14F-4D97-AF65-F5344CB8AC3E}">
        <p14:creationId xmlns:p14="http://schemas.microsoft.com/office/powerpoint/2010/main" val="24231203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DBD9C001-FAA6-333C-3CD3-9ABAEF8FFC6C}"/>
              </a:ext>
            </a:extLst>
          </p:cNvPr>
          <p:cNvSpPr/>
          <p:nvPr/>
        </p:nvSpPr>
        <p:spPr>
          <a:xfrm>
            <a:off x="3314126" y="231260"/>
            <a:ext cx="4320413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6000" b="1" dirty="0">
                <a:solidFill>
                  <a:prstClr val="black"/>
                </a:solidFill>
                <a:latin typeface="Candara" panose="020E0502030303020204" pitchFamily="34" charset="0"/>
              </a:rPr>
              <a:t>Kleurnuance</a:t>
            </a:r>
            <a:endParaRPr lang="nl-NL" sz="2400" b="1" dirty="0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0BDB4D86-FE68-806B-4358-5FD449E7129B}"/>
              </a:ext>
            </a:extLst>
          </p:cNvPr>
          <p:cNvSpPr/>
          <p:nvPr/>
        </p:nvSpPr>
        <p:spPr>
          <a:xfrm>
            <a:off x="1366103" y="1261433"/>
            <a:ext cx="1005558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4400" dirty="0">
                <a:solidFill>
                  <a:prstClr val="black"/>
                </a:solidFill>
                <a:latin typeface="Candara" panose="020E0502030303020204" pitchFamily="34" charset="0"/>
              </a:rPr>
              <a:t>				Mengen </a:t>
            </a:r>
            <a:r>
              <a:rPr lang="nl-NL" sz="2800" dirty="0">
                <a:solidFill>
                  <a:prstClr val="black"/>
                </a:solidFill>
                <a:latin typeface="Candara" panose="020E0502030303020204" pitchFamily="34" charset="0"/>
              </a:rPr>
              <a:t>met wit, grijs of zwart</a:t>
            </a:r>
            <a:endParaRPr lang="nl-NL" sz="2400" dirty="0"/>
          </a:p>
        </p:txBody>
      </p:sp>
      <p:grpSp>
        <p:nvGrpSpPr>
          <p:cNvPr id="4" name="Group 70">
            <a:extLst>
              <a:ext uri="{FF2B5EF4-FFF2-40B4-BE49-F238E27FC236}">
                <a16:creationId xmlns:a16="http://schemas.microsoft.com/office/drawing/2014/main" id="{629DBD68-25DB-48F9-80A8-B8F8E485D4A1}"/>
              </a:ext>
            </a:extLst>
          </p:cNvPr>
          <p:cNvGrpSpPr/>
          <p:nvPr/>
        </p:nvGrpSpPr>
        <p:grpSpPr>
          <a:xfrm>
            <a:off x="1549080" y="2719796"/>
            <a:ext cx="6637665" cy="2716924"/>
            <a:chOff x="1107237" y="1627933"/>
            <a:chExt cx="7561236" cy="2764400"/>
          </a:xfrm>
        </p:grpSpPr>
        <p:grpSp>
          <p:nvGrpSpPr>
            <p:cNvPr id="5" name="Group 66">
              <a:extLst>
                <a:ext uri="{FF2B5EF4-FFF2-40B4-BE49-F238E27FC236}">
                  <a16:creationId xmlns:a16="http://schemas.microsoft.com/office/drawing/2014/main" id="{43B58C75-E551-759E-9598-AC0B4240B30D}"/>
                </a:ext>
              </a:extLst>
            </p:cNvPr>
            <p:cNvGrpSpPr/>
            <p:nvPr/>
          </p:nvGrpSpPr>
          <p:grpSpPr>
            <a:xfrm>
              <a:off x="1107237" y="1627933"/>
              <a:ext cx="7561236" cy="727864"/>
              <a:chOff x="1107237" y="1627933"/>
              <a:chExt cx="7561236" cy="727864"/>
            </a:xfrm>
          </p:grpSpPr>
          <p:sp>
            <p:nvSpPr>
              <p:cNvPr id="31" name="Oval 8">
                <a:extLst>
                  <a:ext uri="{FF2B5EF4-FFF2-40B4-BE49-F238E27FC236}">
                    <a16:creationId xmlns:a16="http://schemas.microsoft.com/office/drawing/2014/main" id="{D918ADF9-8E3A-220E-F996-D659B22A2ACE}"/>
                  </a:ext>
                </a:extLst>
              </p:cNvPr>
              <p:cNvSpPr/>
              <p:nvPr/>
            </p:nvSpPr>
            <p:spPr>
              <a:xfrm>
                <a:off x="1107237" y="1635797"/>
                <a:ext cx="780526" cy="720000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32" name="Plus Sign 16">
                <a:extLst>
                  <a:ext uri="{FF2B5EF4-FFF2-40B4-BE49-F238E27FC236}">
                    <a16:creationId xmlns:a16="http://schemas.microsoft.com/office/drawing/2014/main" id="{84D34789-495B-8BB5-644B-C969449387D8}"/>
                  </a:ext>
                </a:extLst>
              </p:cNvPr>
              <p:cNvSpPr/>
              <p:nvPr/>
            </p:nvSpPr>
            <p:spPr>
              <a:xfrm>
                <a:off x="1887763" y="1796253"/>
                <a:ext cx="405684" cy="363868"/>
              </a:xfrm>
              <a:prstGeom prst="mathPlus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33" name="Oval 20">
                <a:extLst>
                  <a:ext uri="{FF2B5EF4-FFF2-40B4-BE49-F238E27FC236}">
                    <a16:creationId xmlns:a16="http://schemas.microsoft.com/office/drawing/2014/main" id="{23788757-B649-8237-A723-BE7D1F955D64}"/>
                  </a:ext>
                </a:extLst>
              </p:cNvPr>
              <p:cNvSpPr/>
              <p:nvPr/>
            </p:nvSpPr>
            <p:spPr>
              <a:xfrm>
                <a:off x="2293447" y="1635797"/>
                <a:ext cx="780526" cy="72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Equals 23">
                <a:extLst>
                  <a:ext uri="{FF2B5EF4-FFF2-40B4-BE49-F238E27FC236}">
                    <a16:creationId xmlns:a16="http://schemas.microsoft.com/office/drawing/2014/main" id="{2F9EBC3B-86BC-464A-9367-44ACA71F9A86}"/>
                  </a:ext>
                </a:extLst>
              </p:cNvPr>
              <p:cNvSpPr/>
              <p:nvPr/>
            </p:nvSpPr>
            <p:spPr>
              <a:xfrm>
                <a:off x="3218645" y="1835064"/>
                <a:ext cx="377566" cy="286245"/>
              </a:xfrm>
              <a:prstGeom prst="mathEqual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5" name="Group 37">
                <a:extLst>
                  <a:ext uri="{FF2B5EF4-FFF2-40B4-BE49-F238E27FC236}">
                    <a16:creationId xmlns:a16="http://schemas.microsoft.com/office/drawing/2014/main" id="{B1DED9D5-24CB-F439-7A25-202A46CFA5B4}"/>
                  </a:ext>
                </a:extLst>
              </p:cNvPr>
              <p:cNvGrpSpPr/>
              <p:nvPr/>
            </p:nvGrpSpPr>
            <p:grpSpPr>
              <a:xfrm>
                <a:off x="3726081" y="1627933"/>
                <a:ext cx="4942392" cy="727864"/>
                <a:chOff x="3726081" y="1627933"/>
                <a:chExt cx="4942392" cy="727864"/>
              </a:xfrm>
            </p:grpSpPr>
            <p:sp>
              <p:nvSpPr>
                <p:cNvPr id="36" name="Oval 26">
                  <a:extLst>
                    <a:ext uri="{FF2B5EF4-FFF2-40B4-BE49-F238E27FC236}">
                      <a16:creationId xmlns:a16="http://schemas.microsoft.com/office/drawing/2014/main" id="{22B72320-B420-93F0-4052-0FFB598B2203}"/>
                    </a:ext>
                  </a:extLst>
                </p:cNvPr>
                <p:cNvSpPr/>
                <p:nvPr/>
              </p:nvSpPr>
              <p:spPr>
                <a:xfrm>
                  <a:off x="3726081" y="1635797"/>
                  <a:ext cx="780526" cy="720000"/>
                </a:xfrm>
                <a:prstGeom prst="ellipse">
                  <a:avLst/>
                </a:prstGeom>
                <a:solidFill>
                  <a:srgbClr val="0033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37" name="Oval 29">
                  <a:extLst>
                    <a:ext uri="{FF2B5EF4-FFF2-40B4-BE49-F238E27FC236}">
                      <a16:creationId xmlns:a16="http://schemas.microsoft.com/office/drawing/2014/main" id="{28794D48-D794-9025-584E-F6EF7089D502}"/>
                    </a:ext>
                  </a:extLst>
                </p:cNvPr>
                <p:cNvSpPr/>
                <p:nvPr/>
              </p:nvSpPr>
              <p:spPr>
                <a:xfrm>
                  <a:off x="4561215" y="1628241"/>
                  <a:ext cx="780526" cy="720000"/>
                </a:xfrm>
                <a:prstGeom prst="ellipse">
                  <a:avLst/>
                </a:prstGeom>
                <a:solidFill>
                  <a:srgbClr val="295C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38" name="Oval 30">
                  <a:extLst>
                    <a:ext uri="{FF2B5EF4-FFF2-40B4-BE49-F238E27FC236}">
                      <a16:creationId xmlns:a16="http://schemas.microsoft.com/office/drawing/2014/main" id="{CDA60C1B-DF2D-B245-0FAC-3F4DA1E647D8}"/>
                    </a:ext>
                  </a:extLst>
                </p:cNvPr>
                <p:cNvSpPr/>
                <p:nvPr/>
              </p:nvSpPr>
              <p:spPr>
                <a:xfrm>
                  <a:off x="5396349" y="1628241"/>
                  <a:ext cx="780526" cy="720000"/>
                </a:xfrm>
                <a:prstGeom prst="ellipse">
                  <a:avLst/>
                </a:prstGeom>
                <a:solidFill>
                  <a:srgbClr val="7596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39" name="Oval 31">
                  <a:extLst>
                    <a:ext uri="{FF2B5EF4-FFF2-40B4-BE49-F238E27FC236}">
                      <a16:creationId xmlns:a16="http://schemas.microsoft.com/office/drawing/2014/main" id="{B5D6F021-3CE7-D4BA-8FCA-C357FC45DC27}"/>
                    </a:ext>
                  </a:extLst>
                </p:cNvPr>
                <p:cNvSpPr/>
                <p:nvPr/>
              </p:nvSpPr>
              <p:spPr>
                <a:xfrm>
                  <a:off x="6231483" y="1627933"/>
                  <a:ext cx="780526" cy="720000"/>
                </a:xfrm>
                <a:prstGeom prst="ellipse">
                  <a:avLst/>
                </a:prstGeom>
                <a:solidFill>
                  <a:srgbClr val="ABB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40" name="Oval 33">
                  <a:extLst>
                    <a:ext uri="{FF2B5EF4-FFF2-40B4-BE49-F238E27FC236}">
                      <a16:creationId xmlns:a16="http://schemas.microsoft.com/office/drawing/2014/main" id="{2EAAB925-AB58-1A99-5CA6-BEAEAE3E5CBE}"/>
                    </a:ext>
                  </a:extLst>
                </p:cNvPr>
                <p:cNvSpPr/>
                <p:nvPr/>
              </p:nvSpPr>
              <p:spPr>
                <a:xfrm>
                  <a:off x="7059715" y="1635797"/>
                  <a:ext cx="780526" cy="720000"/>
                </a:xfrm>
                <a:prstGeom prst="ellipse">
                  <a:avLst/>
                </a:prstGeom>
                <a:solidFill>
                  <a:srgbClr val="CDD9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41" name="Oval 34">
                  <a:extLst>
                    <a:ext uri="{FF2B5EF4-FFF2-40B4-BE49-F238E27FC236}">
                      <a16:creationId xmlns:a16="http://schemas.microsoft.com/office/drawing/2014/main" id="{59A56F9E-A746-2FCF-509F-AEA7E70A696F}"/>
                    </a:ext>
                  </a:extLst>
                </p:cNvPr>
                <p:cNvSpPr/>
                <p:nvPr/>
              </p:nvSpPr>
              <p:spPr>
                <a:xfrm>
                  <a:off x="7887947" y="1635797"/>
                  <a:ext cx="780526" cy="72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</p:grpSp>
        </p:grpSp>
        <p:grpSp>
          <p:nvGrpSpPr>
            <p:cNvPr id="6" name="Group 69">
              <a:extLst>
                <a:ext uri="{FF2B5EF4-FFF2-40B4-BE49-F238E27FC236}">
                  <a16:creationId xmlns:a16="http://schemas.microsoft.com/office/drawing/2014/main" id="{F288E7BD-9F58-8E72-4C36-65F544135BBB}"/>
                </a:ext>
              </a:extLst>
            </p:cNvPr>
            <p:cNvGrpSpPr/>
            <p:nvPr/>
          </p:nvGrpSpPr>
          <p:grpSpPr>
            <a:xfrm>
              <a:off x="1107237" y="3615282"/>
              <a:ext cx="7561236" cy="777051"/>
              <a:chOff x="1107237" y="3615282"/>
              <a:chExt cx="7561236" cy="777051"/>
            </a:xfrm>
          </p:grpSpPr>
          <p:sp>
            <p:nvSpPr>
              <p:cNvPr id="20" name="Oval 15">
                <a:extLst>
                  <a:ext uri="{FF2B5EF4-FFF2-40B4-BE49-F238E27FC236}">
                    <a16:creationId xmlns:a16="http://schemas.microsoft.com/office/drawing/2014/main" id="{B970B9B7-A33C-9EEF-D375-6304AC7C700E}"/>
                  </a:ext>
                </a:extLst>
              </p:cNvPr>
              <p:cNvSpPr/>
              <p:nvPr/>
            </p:nvSpPr>
            <p:spPr>
              <a:xfrm>
                <a:off x="1107237" y="3672333"/>
                <a:ext cx="780526" cy="720000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21" name="Plus Sign 19">
                <a:extLst>
                  <a:ext uri="{FF2B5EF4-FFF2-40B4-BE49-F238E27FC236}">
                    <a16:creationId xmlns:a16="http://schemas.microsoft.com/office/drawing/2014/main" id="{ADD1FD21-4F9C-FABC-9BA8-0F445F02C743}"/>
                  </a:ext>
                </a:extLst>
              </p:cNvPr>
              <p:cNvSpPr/>
              <p:nvPr/>
            </p:nvSpPr>
            <p:spPr>
              <a:xfrm>
                <a:off x="1887763" y="3857257"/>
                <a:ext cx="405684" cy="363868"/>
              </a:xfrm>
              <a:prstGeom prst="mathPlus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22" name="Oval 22">
                <a:extLst>
                  <a:ext uri="{FF2B5EF4-FFF2-40B4-BE49-F238E27FC236}">
                    <a16:creationId xmlns:a16="http://schemas.microsoft.com/office/drawing/2014/main" id="{88F349DC-2DD4-0CF0-1BBC-6FC9A575CA3E}"/>
                  </a:ext>
                </a:extLst>
              </p:cNvPr>
              <p:cNvSpPr/>
              <p:nvPr/>
            </p:nvSpPr>
            <p:spPr>
              <a:xfrm>
                <a:off x="2293447" y="3664045"/>
                <a:ext cx="780526" cy="72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23" name="Equals 25">
                <a:extLst>
                  <a:ext uri="{FF2B5EF4-FFF2-40B4-BE49-F238E27FC236}">
                    <a16:creationId xmlns:a16="http://schemas.microsoft.com/office/drawing/2014/main" id="{DDD1626C-64F1-2B0A-1AEB-20AC45C3BD62}"/>
                  </a:ext>
                </a:extLst>
              </p:cNvPr>
              <p:cNvSpPr/>
              <p:nvPr/>
            </p:nvSpPr>
            <p:spPr>
              <a:xfrm>
                <a:off x="3218645" y="3896068"/>
                <a:ext cx="377566" cy="286245"/>
              </a:xfrm>
              <a:prstGeom prst="mathEqual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" name="Group 45">
                <a:extLst>
                  <a:ext uri="{FF2B5EF4-FFF2-40B4-BE49-F238E27FC236}">
                    <a16:creationId xmlns:a16="http://schemas.microsoft.com/office/drawing/2014/main" id="{B8BB7D3D-7083-7B7A-831C-F8EDBD95594B}"/>
                  </a:ext>
                </a:extLst>
              </p:cNvPr>
              <p:cNvGrpSpPr/>
              <p:nvPr/>
            </p:nvGrpSpPr>
            <p:grpSpPr>
              <a:xfrm>
                <a:off x="3726081" y="3615282"/>
                <a:ext cx="4942392" cy="727864"/>
                <a:chOff x="3726081" y="1627933"/>
                <a:chExt cx="4942392" cy="727864"/>
              </a:xfrm>
            </p:grpSpPr>
            <p:sp>
              <p:nvSpPr>
                <p:cNvPr id="25" name="Oval 46">
                  <a:extLst>
                    <a:ext uri="{FF2B5EF4-FFF2-40B4-BE49-F238E27FC236}">
                      <a16:creationId xmlns:a16="http://schemas.microsoft.com/office/drawing/2014/main" id="{43D0761F-B01B-02AE-5127-ECB0646563D6}"/>
                    </a:ext>
                  </a:extLst>
                </p:cNvPr>
                <p:cNvSpPr/>
                <p:nvPr/>
              </p:nvSpPr>
              <p:spPr>
                <a:xfrm>
                  <a:off x="3726081" y="1635797"/>
                  <a:ext cx="780526" cy="720000"/>
                </a:xfrm>
                <a:prstGeom prst="ellipse">
                  <a:avLst/>
                </a:prstGeom>
                <a:solidFill>
                  <a:srgbClr val="0033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26" name="Oval 47">
                  <a:extLst>
                    <a:ext uri="{FF2B5EF4-FFF2-40B4-BE49-F238E27FC236}">
                      <a16:creationId xmlns:a16="http://schemas.microsoft.com/office/drawing/2014/main" id="{1B2B3ACD-C49D-A85A-3587-DB12E17A3C09}"/>
                    </a:ext>
                  </a:extLst>
                </p:cNvPr>
                <p:cNvSpPr/>
                <p:nvPr/>
              </p:nvSpPr>
              <p:spPr>
                <a:xfrm>
                  <a:off x="4561215" y="1628241"/>
                  <a:ext cx="780526" cy="720000"/>
                </a:xfrm>
                <a:prstGeom prst="ellipse">
                  <a:avLst/>
                </a:prstGeom>
                <a:solidFill>
                  <a:srgbClr val="00259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27" name="Oval 48">
                  <a:extLst>
                    <a:ext uri="{FF2B5EF4-FFF2-40B4-BE49-F238E27FC236}">
                      <a16:creationId xmlns:a16="http://schemas.microsoft.com/office/drawing/2014/main" id="{DADBC27E-C2CA-71ED-9063-34D2DCF28904}"/>
                    </a:ext>
                  </a:extLst>
                </p:cNvPr>
                <p:cNvSpPr/>
                <p:nvPr/>
              </p:nvSpPr>
              <p:spPr>
                <a:xfrm>
                  <a:off x="5396349" y="1628241"/>
                  <a:ext cx="780526" cy="720000"/>
                </a:xfrm>
                <a:prstGeom prst="ellipse">
                  <a:avLst/>
                </a:prstGeom>
                <a:solidFill>
                  <a:srgbClr val="001C7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28" name="Oval 49">
                  <a:extLst>
                    <a:ext uri="{FF2B5EF4-FFF2-40B4-BE49-F238E27FC236}">
                      <a16:creationId xmlns:a16="http://schemas.microsoft.com/office/drawing/2014/main" id="{A3634869-7A14-4CEF-C06E-001FCC565394}"/>
                    </a:ext>
                  </a:extLst>
                </p:cNvPr>
                <p:cNvSpPr/>
                <p:nvPr/>
              </p:nvSpPr>
              <p:spPr>
                <a:xfrm>
                  <a:off x="6231483" y="1627933"/>
                  <a:ext cx="780526" cy="720000"/>
                </a:xfrm>
                <a:prstGeom prst="ellipse">
                  <a:avLst/>
                </a:prstGeom>
                <a:solidFill>
                  <a:srgbClr val="00145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29" name="Oval 50">
                  <a:extLst>
                    <a:ext uri="{FF2B5EF4-FFF2-40B4-BE49-F238E27FC236}">
                      <a16:creationId xmlns:a16="http://schemas.microsoft.com/office/drawing/2014/main" id="{363A3D4C-0A75-5AFB-F52B-BFAF723F3FC8}"/>
                    </a:ext>
                  </a:extLst>
                </p:cNvPr>
                <p:cNvSpPr/>
                <p:nvPr/>
              </p:nvSpPr>
              <p:spPr>
                <a:xfrm>
                  <a:off x="7059715" y="1635797"/>
                  <a:ext cx="780526" cy="720000"/>
                </a:xfrm>
                <a:prstGeom prst="ellipse">
                  <a:avLst/>
                </a:prstGeom>
                <a:solidFill>
                  <a:srgbClr val="000F3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  <p:sp>
              <p:nvSpPr>
                <p:cNvPr id="30" name="Oval 51">
                  <a:extLst>
                    <a:ext uri="{FF2B5EF4-FFF2-40B4-BE49-F238E27FC236}">
                      <a16:creationId xmlns:a16="http://schemas.microsoft.com/office/drawing/2014/main" id="{4CEA15C1-66F1-C4F0-4879-627B8B9421CE}"/>
                    </a:ext>
                  </a:extLst>
                </p:cNvPr>
                <p:cNvSpPr/>
                <p:nvPr/>
              </p:nvSpPr>
              <p:spPr>
                <a:xfrm>
                  <a:off x="7887947" y="1635797"/>
                  <a:ext cx="780526" cy="720000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t" anchorCtr="0"/>
                <a:lstStyle/>
                <a:p>
                  <a:pPr algn="l"/>
                  <a:endParaRPr lang="nl-BE" dirty="0" err="1"/>
                </a:p>
              </p:txBody>
            </p:sp>
          </p:grpSp>
        </p:grpSp>
        <p:grpSp>
          <p:nvGrpSpPr>
            <p:cNvPr id="7" name="Group 68">
              <a:extLst>
                <a:ext uri="{FF2B5EF4-FFF2-40B4-BE49-F238E27FC236}">
                  <a16:creationId xmlns:a16="http://schemas.microsoft.com/office/drawing/2014/main" id="{0ACD7516-2D32-B4AE-E90A-9064930CBFE9}"/>
                </a:ext>
              </a:extLst>
            </p:cNvPr>
            <p:cNvGrpSpPr/>
            <p:nvPr/>
          </p:nvGrpSpPr>
          <p:grpSpPr>
            <a:xfrm>
              <a:off x="1107237" y="2579957"/>
              <a:ext cx="7561236" cy="796029"/>
              <a:chOff x="1107237" y="2579957"/>
              <a:chExt cx="7561236" cy="796029"/>
            </a:xfrm>
          </p:grpSpPr>
          <p:sp>
            <p:nvSpPr>
              <p:cNvPr id="8" name="Oval 14">
                <a:extLst>
                  <a:ext uri="{FF2B5EF4-FFF2-40B4-BE49-F238E27FC236}">
                    <a16:creationId xmlns:a16="http://schemas.microsoft.com/office/drawing/2014/main" id="{393C9415-BB59-8703-7160-6FF5087E6B6B}"/>
                  </a:ext>
                </a:extLst>
              </p:cNvPr>
              <p:cNvSpPr/>
              <p:nvPr/>
            </p:nvSpPr>
            <p:spPr>
              <a:xfrm>
                <a:off x="1107237" y="2654065"/>
                <a:ext cx="780526" cy="720000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9" name="Plus Sign 18">
                <a:extLst>
                  <a:ext uri="{FF2B5EF4-FFF2-40B4-BE49-F238E27FC236}">
                    <a16:creationId xmlns:a16="http://schemas.microsoft.com/office/drawing/2014/main" id="{5225E338-7565-54DC-77C7-8E27E26EC3F7}"/>
                  </a:ext>
                </a:extLst>
              </p:cNvPr>
              <p:cNvSpPr/>
              <p:nvPr/>
            </p:nvSpPr>
            <p:spPr>
              <a:xfrm>
                <a:off x="1888771" y="2823326"/>
                <a:ext cx="405684" cy="363868"/>
              </a:xfrm>
              <a:prstGeom prst="mathPlus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10" name="Oval 21">
                <a:extLst>
                  <a:ext uri="{FF2B5EF4-FFF2-40B4-BE49-F238E27FC236}">
                    <a16:creationId xmlns:a16="http://schemas.microsoft.com/office/drawing/2014/main" id="{5C114DA1-78D7-450E-77E7-B06930437965}"/>
                  </a:ext>
                </a:extLst>
              </p:cNvPr>
              <p:cNvSpPr/>
              <p:nvPr/>
            </p:nvSpPr>
            <p:spPr>
              <a:xfrm>
                <a:off x="2293447" y="2655986"/>
                <a:ext cx="780526" cy="7200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11" name="Equals 24">
                <a:extLst>
                  <a:ext uri="{FF2B5EF4-FFF2-40B4-BE49-F238E27FC236}">
                    <a16:creationId xmlns:a16="http://schemas.microsoft.com/office/drawing/2014/main" id="{6C7ACAC4-21D0-7585-91A8-628573BEAAF9}"/>
                  </a:ext>
                </a:extLst>
              </p:cNvPr>
              <p:cNvSpPr/>
              <p:nvPr/>
            </p:nvSpPr>
            <p:spPr>
              <a:xfrm>
                <a:off x="3218645" y="2870942"/>
                <a:ext cx="377566" cy="286245"/>
              </a:xfrm>
              <a:prstGeom prst="mathEqual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Oval 54">
                <a:extLst>
                  <a:ext uri="{FF2B5EF4-FFF2-40B4-BE49-F238E27FC236}">
                    <a16:creationId xmlns:a16="http://schemas.microsoft.com/office/drawing/2014/main" id="{F5C689E3-66B5-B3E5-24CF-CE43409BC426}"/>
                  </a:ext>
                </a:extLst>
              </p:cNvPr>
              <p:cNvSpPr/>
              <p:nvPr/>
            </p:nvSpPr>
            <p:spPr>
              <a:xfrm>
                <a:off x="3725563" y="2590286"/>
                <a:ext cx="780526" cy="720000"/>
              </a:xfrm>
              <a:prstGeom prst="ellipse">
                <a:avLst/>
              </a:prstGeom>
              <a:solidFill>
                <a:srgbClr val="0033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13" name="Oval 55">
                <a:extLst>
                  <a:ext uri="{FF2B5EF4-FFF2-40B4-BE49-F238E27FC236}">
                    <a16:creationId xmlns:a16="http://schemas.microsoft.com/office/drawing/2014/main" id="{7F8FE974-F9BA-6B9F-C767-867F20041058}"/>
                  </a:ext>
                </a:extLst>
              </p:cNvPr>
              <p:cNvSpPr/>
              <p:nvPr/>
            </p:nvSpPr>
            <p:spPr>
              <a:xfrm>
                <a:off x="6242412" y="2590286"/>
                <a:ext cx="780526" cy="720000"/>
              </a:xfrm>
              <a:prstGeom prst="ellipse">
                <a:avLst/>
              </a:prstGeom>
              <a:solidFill>
                <a:srgbClr val="3E518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15" name="Oval 56">
                <a:extLst>
                  <a:ext uri="{FF2B5EF4-FFF2-40B4-BE49-F238E27FC236}">
                    <a16:creationId xmlns:a16="http://schemas.microsoft.com/office/drawing/2014/main" id="{CB50FB0A-638E-4538-F0D2-E01D2C685774}"/>
                  </a:ext>
                </a:extLst>
              </p:cNvPr>
              <p:cNvSpPr/>
              <p:nvPr/>
            </p:nvSpPr>
            <p:spPr>
              <a:xfrm>
                <a:off x="4571626" y="2605390"/>
                <a:ext cx="780526" cy="720000"/>
              </a:xfrm>
              <a:prstGeom prst="ellipse">
                <a:avLst/>
              </a:prstGeom>
              <a:solidFill>
                <a:srgbClr val="1437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17" name="Oval 57">
                <a:extLst>
                  <a:ext uri="{FF2B5EF4-FFF2-40B4-BE49-F238E27FC236}">
                    <a16:creationId xmlns:a16="http://schemas.microsoft.com/office/drawing/2014/main" id="{07A456E9-B0C5-B460-7E1A-CD6A524DF5B1}"/>
                  </a:ext>
                </a:extLst>
              </p:cNvPr>
              <p:cNvSpPr/>
              <p:nvPr/>
            </p:nvSpPr>
            <p:spPr>
              <a:xfrm>
                <a:off x="5398604" y="2603137"/>
                <a:ext cx="780526" cy="720000"/>
              </a:xfrm>
              <a:prstGeom prst="ellipse">
                <a:avLst/>
              </a:prstGeom>
              <a:solidFill>
                <a:srgbClr val="2447A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18" name="Oval 58">
                <a:extLst>
                  <a:ext uri="{FF2B5EF4-FFF2-40B4-BE49-F238E27FC236}">
                    <a16:creationId xmlns:a16="http://schemas.microsoft.com/office/drawing/2014/main" id="{5D5E61B4-65EE-1FC9-D3D9-D8D23BAA67AB}"/>
                  </a:ext>
                </a:extLst>
              </p:cNvPr>
              <p:cNvSpPr/>
              <p:nvPr/>
            </p:nvSpPr>
            <p:spPr>
              <a:xfrm>
                <a:off x="7059715" y="2579957"/>
                <a:ext cx="780526" cy="720000"/>
              </a:xfrm>
              <a:prstGeom prst="ellipse">
                <a:avLst/>
              </a:prstGeom>
              <a:solidFill>
                <a:srgbClr val="4E597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  <p:sp>
            <p:nvSpPr>
              <p:cNvPr id="19" name="Oval 59">
                <a:extLst>
                  <a:ext uri="{FF2B5EF4-FFF2-40B4-BE49-F238E27FC236}">
                    <a16:creationId xmlns:a16="http://schemas.microsoft.com/office/drawing/2014/main" id="{FDE5EAB3-39AF-6ED0-A2A0-E4C9FE0F50CF}"/>
                  </a:ext>
                </a:extLst>
              </p:cNvPr>
              <p:cNvSpPr/>
              <p:nvPr/>
            </p:nvSpPr>
            <p:spPr>
              <a:xfrm>
                <a:off x="7887947" y="2579957"/>
                <a:ext cx="780526" cy="720000"/>
              </a:xfrm>
              <a:prstGeom prst="ellipse">
                <a:avLst/>
              </a:prstGeom>
              <a:solidFill>
                <a:srgbClr val="61636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/>
                <a:endParaRPr lang="nl-BE" dirty="0" err="1"/>
              </a:p>
            </p:txBody>
          </p:sp>
        </p:grpSp>
      </p:grpSp>
      <p:sp>
        <p:nvSpPr>
          <p:cNvPr id="45" name="Tekstvak 44">
            <a:extLst>
              <a:ext uri="{FF2B5EF4-FFF2-40B4-BE49-F238E27FC236}">
                <a16:creationId xmlns:a16="http://schemas.microsoft.com/office/drawing/2014/main" id="{EE100DA6-139F-DCB7-2A08-CF626E806CFF}"/>
              </a:ext>
            </a:extLst>
          </p:cNvPr>
          <p:cNvSpPr txBox="1"/>
          <p:nvPr/>
        </p:nvSpPr>
        <p:spPr>
          <a:xfrm rot="10800000" flipV="1">
            <a:off x="852384" y="1460462"/>
            <a:ext cx="304191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2800" b="1" dirty="0">
                <a:solidFill>
                  <a:srgbClr val="C00000"/>
                </a:solidFill>
              </a:rPr>
              <a:t>Opdracht 2</a:t>
            </a:r>
          </a:p>
        </p:txBody>
      </p:sp>
    </p:spTree>
    <p:extLst>
      <p:ext uri="{BB962C8B-B14F-4D97-AF65-F5344CB8AC3E}">
        <p14:creationId xmlns:p14="http://schemas.microsoft.com/office/powerpoint/2010/main" val="2110058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2</TotalTime>
  <Words>76</Words>
  <Application>Microsoft Macintosh PowerPoint</Application>
  <PresentationFormat>Breedbeeld</PresentationFormat>
  <Paragraphs>33</Paragraphs>
  <Slides>9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9</vt:i4>
      </vt:variant>
    </vt:vector>
  </HeadingPairs>
  <TitlesOfParts>
    <vt:vector size="18" baseType="lpstr">
      <vt:lpstr>Arial</vt:lpstr>
      <vt:lpstr>Arial Black</vt:lpstr>
      <vt:lpstr>Calibri</vt:lpstr>
      <vt:lpstr>Calibri Light</vt:lpstr>
      <vt:lpstr>Candara</vt:lpstr>
      <vt:lpstr>Wingdings</vt:lpstr>
      <vt:lpstr>Kantoorthema</vt:lpstr>
      <vt:lpstr>1_Kantoorthema</vt:lpstr>
      <vt:lpstr>think-cell Slide</vt:lpstr>
      <vt:lpstr>Kleur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leur</dc:title>
  <dc:creator>Kim *</dc:creator>
  <cp:lastModifiedBy>info@taalfabriek.nl</cp:lastModifiedBy>
  <cp:revision>25</cp:revision>
  <dcterms:created xsi:type="dcterms:W3CDTF">2020-02-01T09:51:39Z</dcterms:created>
  <dcterms:modified xsi:type="dcterms:W3CDTF">2022-10-09T20:12:58Z</dcterms:modified>
</cp:coreProperties>
</file>